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7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9.xml" ContentType="application/vnd.openxmlformats-officedocument.presentationml.tags+xml"/>
  <Override PartName="/ppt/notesSlides/notesSlide79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52" r:id="rId8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79.xml" Id="rId82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3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9.xml.rels>&#65279;<?xml version="1.0" encoding="utf-8"?><Relationships xmlns="http://schemas.openxmlformats.org/package/2006/relationships"><Relationship Type="http://schemas.openxmlformats.org/officeDocument/2006/relationships/slide" Target="/ppt/slides/slide79.xml" Id="rId2" /><Relationship Type="http://schemas.openxmlformats.org/officeDocument/2006/relationships/notesMaster" Target="/ppt/notesMasters/notesMaster1.xml" Id="rId1" /></Relationship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02092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9.xml" Id="rId2" /><Relationship Type="http://schemas.openxmlformats.org/officeDocument/2006/relationships/vmlDrawing" Target="/ppt/drawings/vmlDrawing83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3.bin" Id="rId5" /><Relationship Type="http://schemas.openxmlformats.org/officeDocument/2006/relationships/notesSlide" Target="/ppt/notesSlides/notesSlide79.xml" Id="rId4" /></Relationships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D752F2A-A44C-306E-DAA0-CD3AF414E7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538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752F2A-A44C-306E-DAA0-CD3AF414E7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Group 51"/>
          <p:cNvGrpSpPr/>
          <p:nvPr/>
        </p:nvGrpSpPr>
        <p:grpSpPr>
          <a:xfrm>
            <a:off x="3938821" y="1160494"/>
            <a:ext cx="4314352" cy="4897435"/>
            <a:chOff x="2239069" y="2908351"/>
            <a:chExt cx="8462739" cy="9606465"/>
          </a:xfrm>
          <a:solidFill>
            <a:schemeClr val="bg2"/>
          </a:solidFill>
        </p:grpSpPr>
        <p:sp>
          <p:nvSpPr>
            <p:cNvPr id="53" name="Freeform 131"/>
            <p:cNvSpPr>
              <a:spLocks noChangeArrowheads="1"/>
            </p:cNvSpPr>
            <p:nvPr/>
          </p:nvSpPr>
          <p:spPr bwMode="auto">
            <a:xfrm>
              <a:off x="2239069" y="9900760"/>
              <a:ext cx="1670829" cy="2614056"/>
            </a:xfrm>
            <a:custGeom>
              <a:avLst/>
              <a:gdLst>
                <a:gd name="T0" fmla="*/ 2630 w 3868"/>
                <a:gd name="T1" fmla="*/ 5613 h 6049"/>
                <a:gd name="T2" fmla="*/ 2668 w 3868"/>
                <a:gd name="T3" fmla="*/ 5838 h 6049"/>
                <a:gd name="T4" fmla="*/ 2788 w 3868"/>
                <a:gd name="T5" fmla="*/ 5351 h 6049"/>
                <a:gd name="T6" fmla="*/ 2211 w 3868"/>
                <a:gd name="T7" fmla="*/ 6040 h 6049"/>
                <a:gd name="T8" fmla="*/ 2083 w 3868"/>
                <a:gd name="T9" fmla="*/ 5778 h 6049"/>
                <a:gd name="T10" fmla="*/ 1836 w 3868"/>
                <a:gd name="T11" fmla="*/ 5771 h 6049"/>
                <a:gd name="T12" fmla="*/ 1236 w 3868"/>
                <a:gd name="T13" fmla="*/ 4174 h 6049"/>
                <a:gd name="T14" fmla="*/ 1401 w 3868"/>
                <a:gd name="T15" fmla="*/ 3905 h 6049"/>
                <a:gd name="T16" fmla="*/ 1709 w 3868"/>
                <a:gd name="T17" fmla="*/ 3402 h 6049"/>
                <a:gd name="T18" fmla="*/ 2024 w 3868"/>
                <a:gd name="T19" fmla="*/ 3013 h 6049"/>
                <a:gd name="T20" fmla="*/ 1889 w 3868"/>
                <a:gd name="T21" fmla="*/ 3140 h 6049"/>
                <a:gd name="T22" fmla="*/ 1641 w 3868"/>
                <a:gd name="T23" fmla="*/ 3395 h 6049"/>
                <a:gd name="T24" fmla="*/ 1604 w 3868"/>
                <a:gd name="T25" fmla="*/ 3283 h 6049"/>
                <a:gd name="T26" fmla="*/ 1784 w 3868"/>
                <a:gd name="T27" fmla="*/ 2953 h 6049"/>
                <a:gd name="T28" fmla="*/ 1064 w 3868"/>
                <a:gd name="T29" fmla="*/ 2031 h 6049"/>
                <a:gd name="T30" fmla="*/ 1401 w 3868"/>
                <a:gd name="T31" fmla="*/ 1814 h 6049"/>
                <a:gd name="T32" fmla="*/ 1656 w 3868"/>
                <a:gd name="T33" fmla="*/ 1664 h 6049"/>
                <a:gd name="T34" fmla="*/ 2068 w 3868"/>
                <a:gd name="T35" fmla="*/ 1379 h 6049"/>
                <a:gd name="T36" fmla="*/ 2623 w 3868"/>
                <a:gd name="T37" fmla="*/ 1094 h 6049"/>
                <a:gd name="T38" fmla="*/ 3500 w 3868"/>
                <a:gd name="T39" fmla="*/ 1477 h 6049"/>
                <a:gd name="T40" fmla="*/ 3627 w 3868"/>
                <a:gd name="T41" fmla="*/ 2024 h 6049"/>
                <a:gd name="T42" fmla="*/ 3867 w 3868"/>
                <a:gd name="T43" fmla="*/ 2428 h 6049"/>
                <a:gd name="T44" fmla="*/ 3500 w 3868"/>
                <a:gd name="T45" fmla="*/ 2938 h 6049"/>
                <a:gd name="T46" fmla="*/ 3223 w 3868"/>
                <a:gd name="T47" fmla="*/ 3867 h 6049"/>
                <a:gd name="T48" fmla="*/ 2975 w 3868"/>
                <a:gd name="T49" fmla="*/ 4504 h 6049"/>
                <a:gd name="T50" fmla="*/ 2743 w 3868"/>
                <a:gd name="T51" fmla="*/ 4714 h 6049"/>
                <a:gd name="T52" fmla="*/ 2458 w 3868"/>
                <a:gd name="T53" fmla="*/ 4534 h 6049"/>
                <a:gd name="T54" fmla="*/ 2376 w 3868"/>
                <a:gd name="T55" fmla="*/ 4294 h 6049"/>
                <a:gd name="T56" fmla="*/ 2218 w 3868"/>
                <a:gd name="T57" fmla="*/ 4279 h 6049"/>
                <a:gd name="T58" fmla="*/ 2173 w 3868"/>
                <a:gd name="T59" fmla="*/ 4811 h 6049"/>
                <a:gd name="T60" fmla="*/ 1701 w 3868"/>
                <a:gd name="T61" fmla="*/ 4496 h 6049"/>
                <a:gd name="T62" fmla="*/ 1769 w 3868"/>
                <a:gd name="T63" fmla="*/ 3935 h 6049"/>
                <a:gd name="T64" fmla="*/ 1994 w 3868"/>
                <a:gd name="T65" fmla="*/ 3432 h 6049"/>
                <a:gd name="T66" fmla="*/ 2271 w 3868"/>
                <a:gd name="T67" fmla="*/ 2870 h 6049"/>
                <a:gd name="T68" fmla="*/ 2256 w 3868"/>
                <a:gd name="T69" fmla="*/ 2706 h 6049"/>
                <a:gd name="T70" fmla="*/ 1964 w 3868"/>
                <a:gd name="T71" fmla="*/ 2166 h 6049"/>
                <a:gd name="T72" fmla="*/ 1799 w 3868"/>
                <a:gd name="T73" fmla="*/ 2541 h 6049"/>
                <a:gd name="T74" fmla="*/ 1739 w 3868"/>
                <a:gd name="T75" fmla="*/ 2773 h 6049"/>
                <a:gd name="T76" fmla="*/ 1342 w 3868"/>
                <a:gd name="T77" fmla="*/ 2780 h 6049"/>
                <a:gd name="T78" fmla="*/ 1304 w 3868"/>
                <a:gd name="T79" fmla="*/ 2278 h 6049"/>
                <a:gd name="T80" fmla="*/ 1484 w 3868"/>
                <a:gd name="T81" fmla="*/ 2451 h 6049"/>
                <a:gd name="T82" fmla="*/ 1282 w 3868"/>
                <a:gd name="T83" fmla="*/ 2166 h 6049"/>
                <a:gd name="T84" fmla="*/ 1019 w 3868"/>
                <a:gd name="T85" fmla="*/ 1746 h 6049"/>
                <a:gd name="T86" fmla="*/ 884 w 3868"/>
                <a:gd name="T87" fmla="*/ 1986 h 6049"/>
                <a:gd name="T88" fmla="*/ 1027 w 3868"/>
                <a:gd name="T89" fmla="*/ 1904 h 6049"/>
                <a:gd name="T90" fmla="*/ 382 w 3868"/>
                <a:gd name="T91" fmla="*/ 2511 h 6049"/>
                <a:gd name="T92" fmla="*/ 525 w 3868"/>
                <a:gd name="T93" fmla="*/ 2353 h 6049"/>
                <a:gd name="T94" fmla="*/ 480 w 3868"/>
                <a:gd name="T95" fmla="*/ 2533 h 6049"/>
                <a:gd name="T96" fmla="*/ 247 w 3868"/>
                <a:gd name="T97" fmla="*/ 2563 h 6049"/>
                <a:gd name="T98" fmla="*/ 255 w 3868"/>
                <a:gd name="T99" fmla="*/ 2683 h 6049"/>
                <a:gd name="T100" fmla="*/ 165 w 3868"/>
                <a:gd name="T101" fmla="*/ 2870 h 6049"/>
                <a:gd name="T102" fmla="*/ 0 w 3868"/>
                <a:gd name="T103" fmla="*/ 2818 h 6049"/>
                <a:gd name="T104" fmla="*/ 1207 w 3868"/>
                <a:gd name="T105" fmla="*/ 1169 h 6049"/>
                <a:gd name="T106" fmla="*/ 1229 w 3868"/>
                <a:gd name="T107" fmla="*/ 1372 h 6049"/>
                <a:gd name="T108" fmla="*/ 832 w 3868"/>
                <a:gd name="T109" fmla="*/ 83 h 6049"/>
                <a:gd name="T110" fmla="*/ 742 w 3868"/>
                <a:gd name="T111" fmla="*/ 465 h 6049"/>
                <a:gd name="T112" fmla="*/ 712 w 3868"/>
                <a:gd name="T113" fmla="*/ 555 h 6049"/>
                <a:gd name="T114" fmla="*/ 712 w 3868"/>
                <a:gd name="T115" fmla="*/ 825 h 6049"/>
                <a:gd name="T116" fmla="*/ 862 w 3868"/>
                <a:gd name="T117" fmla="*/ 442 h 6049"/>
                <a:gd name="T118" fmla="*/ 974 w 3868"/>
                <a:gd name="T119" fmla="*/ 105 h 6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68" h="6049">
                  <a:moveTo>
                    <a:pt x="2773" y="5261"/>
                  </a:moveTo>
                  <a:lnTo>
                    <a:pt x="2773" y="5261"/>
                  </a:lnTo>
                  <a:cubicBezTo>
                    <a:pt x="2758" y="5268"/>
                    <a:pt x="2758" y="5276"/>
                    <a:pt x="2743" y="5284"/>
                  </a:cubicBezTo>
                  <a:cubicBezTo>
                    <a:pt x="2736" y="5291"/>
                    <a:pt x="2720" y="5291"/>
                    <a:pt x="2720" y="5298"/>
                  </a:cubicBezTo>
                  <a:cubicBezTo>
                    <a:pt x="2720" y="5313"/>
                    <a:pt x="2728" y="5313"/>
                    <a:pt x="2728" y="5328"/>
                  </a:cubicBezTo>
                  <a:cubicBezTo>
                    <a:pt x="2728" y="5336"/>
                    <a:pt x="2720" y="5336"/>
                    <a:pt x="2720" y="5343"/>
                  </a:cubicBezTo>
                  <a:cubicBezTo>
                    <a:pt x="2713" y="5351"/>
                    <a:pt x="2713" y="5358"/>
                    <a:pt x="2706" y="5366"/>
                  </a:cubicBezTo>
                  <a:cubicBezTo>
                    <a:pt x="2698" y="5381"/>
                    <a:pt x="2698" y="5388"/>
                    <a:pt x="2690" y="5396"/>
                  </a:cubicBezTo>
                  <a:cubicBezTo>
                    <a:pt x="2690" y="5403"/>
                    <a:pt x="2676" y="5411"/>
                    <a:pt x="2676" y="5418"/>
                  </a:cubicBezTo>
                  <a:cubicBezTo>
                    <a:pt x="2660" y="5441"/>
                    <a:pt x="2653" y="5448"/>
                    <a:pt x="2653" y="5471"/>
                  </a:cubicBezTo>
                  <a:cubicBezTo>
                    <a:pt x="2653" y="5478"/>
                    <a:pt x="2646" y="5478"/>
                    <a:pt x="2646" y="5486"/>
                  </a:cubicBezTo>
                  <a:cubicBezTo>
                    <a:pt x="2646" y="5538"/>
                    <a:pt x="2646" y="5538"/>
                    <a:pt x="2646" y="5538"/>
                  </a:cubicBezTo>
                  <a:cubicBezTo>
                    <a:pt x="2646" y="5546"/>
                    <a:pt x="2646" y="5553"/>
                    <a:pt x="2646" y="5561"/>
                  </a:cubicBezTo>
                  <a:cubicBezTo>
                    <a:pt x="2646" y="5568"/>
                    <a:pt x="2646" y="5576"/>
                    <a:pt x="2638" y="5591"/>
                  </a:cubicBezTo>
                  <a:cubicBezTo>
                    <a:pt x="2638" y="5598"/>
                    <a:pt x="2630" y="5606"/>
                    <a:pt x="2630" y="5613"/>
                  </a:cubicBezTo>
                  <a:cubicBezTo>
                    <a:pt x="2623" y="5628"/>
                    <a:pt x="2623" y="5636"/>
                    <a:pt x="2616" y="5651"/>
                  </a:cubicBezTo>
                  <a:cubicBezTo>
                    <a:pt x="2608" y="5666"/>
                    <a:pt x="2601" y="5673"/>
                    <a:pt x="2586" y="5688"/>
                  </a:cubicBezTo>
                  <a:cubicBezTo>
                    <a:pt x="2578" y="5695"/>
                    <a:pt x="2578" y="5703"/>
                    <a:pt x="2563" y="5718"/>
                  </a:cubicBezTo>
                  <a:cubicBezTo>
                    <a:pt x="2556" y="5725"/>
                    <a:pt x="2548" y="5725"/>
                    <a:pt x="2548" y="5733"/>
                  </a:cubicBezTo>
                  <a:cubicBezTo>
                    <a:pt x="2541" y="5733"/>
                    <a:pt x="2541" y="5741"/>
                    <a:pt x="2541" y="5741"/>
                  </a:cubicBezTo>
                  <a:cubicBezTo>
                    <a:pt x="2556" y="5808"/>
                    <a:pt x="2556" y="5808"/>
                    <a:pt x="2556" y="5808"/>
                  </a:cubicBezTo>
                  <a:cubicBezTo>
                    <a:pt x="2556" y="5815"/>
                    <a:pt x="2556" y="5823"/>
                    <a:pt x="2556" y="5838"/>
                  </a:cubicBezTo>
                  <a:cubicBezTo>
                    <a:pt x="2548" y="5845"/>
                    <a:pt x="2548" y="5853"/>
                    <a:pt x="2548" y="5860"/>
                  </a:cubicBezTo>
                  <a:cubicBezTo>
                    <a:pt x="2548" y="5860"/>
                    <a:pt x="2548" y="5860"/>
                    <a:pt x="2548" y="5868"/>
                  </a:cubicBezTo>
                  <a:cubicBezTo>
                    <a:pt x="2556" y="5868"/>
                    <a:pt x="2556" y="5875"/>
                    <a:pt x="2563" y="5875"/>
                  </a:cubicBezTo>
                  <a:cubicBezTo>
                    <a:pt x="2563" y="5883"/>
                    <a:pt x="2563" y="5890"/>
                    <a:pt x="2571" y="5898"/>
                  </a:cubicBezTo>
                  <a:cubicBezTo>
                    <a:pt x="2578" y="5883"/>
                    <a:pt x="2578" y="5868"/>
                    <a:pt x="2593" y="5868"/>
                  </a:cubicBezTo>
                  <a:cubicBezTo>
                    <a:pt x="2616" y="5860"/>
                    <a:pt x="2630" y="5860"/>
                    <a:pt x="2646" y="5860"/>
                  </a:cubicBezTo>
                  <a:cubicBezTo>
                    <a:pt x="2668" y="5860"/>
                    <a:pt x="2668" y="5860"/>
                    <a:pt x="2668" y="5860"/>
                  </a:cubicBezTo>
                  <a:cubicBezTo>
                    <a:pt x="2668" y="5853"/>
                    <a:pt x="2668" y="5845"/>
                    <a:pt x="2668" y="5838"/>
                  </a:cubicBezTo>
                  <a:cubicBezTo>
                    <a:pt x="2676" y="5830"/>
                    <a:pt x="2668" y="5823"/>
                    <a:pt x="2676" y="5808"/>
                  </a:cubicBezTo>
                  <a:cubicBezTo>
                    <a:pt x="2676" y="5801"/>
                    <a:pt x="2683" y="5793"/>
                    <a:pt x="2683" y="5778"/>
                  </a:cubicBezTo>
                  <a:cubicBezTo>
                    <a:pt x="2683" y="5771"/>
                    <a:pt x="2676" y="5771"/>
                    <a:pt x="2668" y="5763"/>
                  </a:cubicBezTo>
                  <a:cubicBezTo>
                    <a:pt x="2668" y="5763"/>
                    <a:pt x="2668" y="5755"/>
                    <a:pt x="2668" y="5748"/>
                  </a:cubicBezTo>
                  <a:cubicBezTo>
                    <a:pt x="2668" y="5733"/>
                    <a:pt x="2676" y="5725"/>
                    <a:pt x="2683" y="5711"/>
                  </a:cubicBezTo>
                  <a:cubicBezTo>
                    <a:pt x="2690" y="5703"/>
                    <a:pt x="2690" y="5695"/>
                    <a:pt x="2690" y="5681"/>
                  </a:cubicBezTo>
                  <a:cubicBezTo>
                    <a:pt x="2698" y="5658"/>
                    <a:pt x="2698" y="5636"/>
                    <a:pt x="2720" y="5628"/>
                  </a:cubicBezTo>
                  <a:cubicBezTo>
                    <a:pt x="2728" y="5621"/>
                    <a:pt x="2736" y="5621"/>
                    <a:pt x="2743" y="5613"/>
                  </a:cubicBezTo>
                  <a:cubicBezTo>
                    <a:pt x="2750" y="5606"/>
                    <a:pt x="2743" y="5591"/>
                    <a:pt x="2750" y="5583"/>
                  </a:cubicBezTo>
                  <a:cubicBezTo>
                    <a:pt x="2750" y="5576"/>
                    <a:pt x="2758" y="5576"/>
                    <a:pt x="2766" y="5568"/>
                  </a:cubicBezTo>
                  <a:cubicBezTo>
                    <a:pt x="2773" y="5553"/>
                    <a:pt x="2773" y="5546"/>
                    <a:pt x="2773" y="5531"/>
                  </a:cubicBezTo>
                  <a:cubicBezTo>
                    <a:pt x="2773" y="5516"/>
                    <a:pt x="2773" y="5508"/>
                    <a:pt x="2773" y="5493"/>
                  </a:cubicBezTo>
                  <a:cubicBezTo>
                    <a:pt x="2773" y="5471"/>
                    <a:pt x="2780" y="5463"/>
                    <a:pt x="2780" y="5441"/>
                  </a:cubicBezTo>
                  <a:cubicBezTo>
                    <a:pt x="2788" y="5426"/>
                    <a:pt x="2788" y="5418"/>
                    <a:pt x="2788" y="5403"/>
                  </a:cubicBezTo>
                  <a:cubicBezTo>
                    <a:pt x="2788" y="5351"/>
                    <a:pt x="2788" y="5351"/>
                    <a:pt x="2788" y="5351"/>
                  </a:cubicBezTo>
                  <a:cubicBezTo>
                    <a:pt x="2788" y="5343"/>
                    <a:pt x="2788" y="5343"/>
                    <a:pt x="2795" y="5336"/>
                  </a:cubicBezTo>
                  <a:cubicBezTo>
                    <a:pt x="2795" y="5328"/>
                    <a:pt x="2795" y="5321"/>
                    <a:pt x="2795" y="5306"/>
                  </a:cubicBezTo>
                  <a:cubicBezTo>
                    <a:pt x="2795" y="5298"/>
                    <a:pt x="2795" y="5291"/>
                    <a:pt x="2788" y="5284"/>
                  </a:cubicBezTo>
                  <a:cubicBezTo>
                    <a:pt x="2788" y="5276"/>
                    <a:pt x="2780" y="5268"/>
                    <a:pt x="2773" y="5261"/>
                  </a:cubicBezTo>
                  <a:close/>
                  <a:moveTo>
                    <a:pt x="1994" y="5845"/>
                  </a:moveTo>
                  <a:lnTo>
                    <a:pt x="1994" y="5845"/>
                  </a:lnTo>
                  <a:cubicBezTo>
                    <a:pt x="1994" y="5853"/>
                    <a:pt x="2001" y="5853"/>
                    <a:pt x="2008" y="5860"/>
                  </a:cubicBezTo>
                  <a:cubicBezTo>
                    <a:pt x="2016" y="5868"/>
                    <a:pt x="2016" y="5875"/>
                    <a:pt x="2016" y="5890"/>
                  </a:cubicBezTo>
                  <a:cubicBezTo>
                    <a:pt x="2016" y="5905"/>
                    <a:pt x="2024" y="5913"/>
                    <a:pt x="2024" y="5928"/>
                  </a:cubicBezTo>
                  <a:cubicBezTo>
                    <a:pt x="2031" y="5958"/>
                    <a:pt x="2038" y="5973"/>
                    <a:pt x="2054" y="5995"/>
                  </a:cubicBezTo>
                  <a:cubicBezTo>
                    <a:pt x="2061" y="6010"/>
                    <a:pt x="2054" y="6025"/>
                    <a:pt x="2068" y="6033"/>
                  </a:cubicBezTo>
                  <a:cubicBezTo>
                    <a:pt x="2083" y="6040"/>
                    <a:pt x="2091" y="6033"/>
                    <a:pt x="2106" y="6040"/>
                  </a:cubicBezTo>
                  <a:cubicBezTo>
                    <a:pt x="2113" y="6040"/>
                    <a:pt x="2121" y="6040"/>
                    <a:pt x="2128" y="6040"/>
                  </a:cubicBezTo>
                  <a:cubicBezTo>
                    <a:pt x="2151" y="6048"/>
                    <a:pt x="2158" y="6048"/>
                    <a:pt x="2181" y="6048"/>
                  </a:cubicBezTo>
                  <a:cubicBezTo>
                    <a:pt x="2196" y="6048"/>
                    <a:pt x="2203" y="6040"/>
                    <a:pt x="2211" y="6040"/>
                  </a:cubicBezTo>
                  <a:cubicBezTo>
                    <a:pt x="2226" y="6040"/>
                    <a:pt x="2226" y="6033"/>
                    <a:pt x="2233" y="6033"/>
                  </a:cubicBezTo>
                  <a:cubicBezTo>
                    <a:pt x="2248" y="6025"/>
                    <a:pt x="2256" y="6018"/>
                    <a:pt x="2263" y="6010"/>
                  </a:cubicBezTo>
                  <a:cubicBezTo>
                    <a:pt x="2271" y="6003"/>
                    <a:pt x="2278" y="5988"/>
                    <a:pt x="2286" y="5980"/>
                  </a:cubicBezTo>
                  <a:cubicBezTo>
                    <a:pt x="2293" y="5965"/>
                    <a:pt x="2308" y="5950"/>
                    <a:pt x="2316" y="5935"/>
                  </a:cubicBezTo>
                  <a:cubicBezTo>
                    <a:pt x="2316" y="5920"/>
                    <a:pt x="2316" y="5905"/>
                    <a:pt x="2323" y="5890"/>
                  </a:cubicBezTo>
                  <a:cubicBezTo>
                    <a:pt x="2323" y="5883"/>
                    <a:pt x="2323" y="5875"/>
                    <a:pt x="2323" y="5868"/>
                  </a:cubicBezTo>
                  <a:cubicBezTo>
                    <a:pt x="2323" y="5838"/>
                    <a:pt x="2323" y="5838"/>
                    <a:pt x="2323" y="5838"/>
                  </a:cubicBezTo>
                  <a:cubicBezTo>
                    <a:pt x="2316" y="5838"/>
                    <a:pt x="2308" y="5838"/>
                    <a:pt x="2293" y="5838"/>
                  </a:cubicBezTo>
                  <a:cubicBezTo>
                    <a:pt x="2286" y="5838"/>
                    <a:pt x="2278" y="5830"/>
                    <a:pt x="2271" y="5823"/>
                  </a:cubicBezTo>
                  <a:cubicBezTo>
                    <a:pt x="2263" y="5815"/>
                    <a:pt x="2263" y="5815"/>
                    <a:pt x="2256" y="5808"/>
                  </a:cubicBezTo>
                  <a:cubicBezTo>
                    <a:pt x="2233" y="5801"/>
                    <a:pt x="2226" y="5793"/>
                    <a:pt x="2211" y="5778"/>
                  </a:cubicBezTo>
                  <a:cubicBezTo>
                    <a:pt x="2196" y="5771"/>
                    <a:pt x="2196" y="5763"/>
                    <a:pt x="2181" y="5755"/>
                  </a:cubicBezTo>
                  <a:cubicBezTo>
                    <a:pt x="2166" y="5755"/>
                    <a:pt x="2158" y="5755"/>
                    <a:pt x="2151" y="5755"/>
                  </a:cubicBezTo>
                  <a:cubicBezTo>
                    <a:pt x="2136" y="5755"/>
                    <a:pt x="2128" y="5748"/>
                    <a:pt x="2113" y="5748"/>
                  </a:cubicBezTo>
                  <a:cubicBezTo>
                    <a:pt x="2098" y="5748"/>
                    <a:pt x="2098" y="5763"/>
                    <a:pt x="2083" y="5778"/>
                  </a:cubicBezTo>
                  <a:cubicBezTo>
                    <a:pt x="2083" y="5785"/>
                    <a:pt x="2083" y="5785"/>
                    <a:pt x="2083" y="5785"/>
                  </a:cubicBezTo>
                  <a:cubicBezTo>
                    <a:pt x="2076" y="5793"/>
                    <a:pt x="2068" y="5801"/>
                    <a:pt x="2068" y="5808"/>
                  </a:cubicBezTo>
                  <a:cubicBezTo>
                    <a:pt x="2061" y="5823"/>
                    <a:pt x="2054" y="5823"/>
                    <a:pt x="2038" y="5823"/>
                  </a:cubicBezTo>
                  <a:cubicBezTo>
                    <a:pt x="2031" y="5830"/>
                    <a:pt x="2031" y="5830"/>
                    <a:pt x="2024" y="5830"/>
                  </a:cubicBezTo>
                  <a:cubicBezTo>
                    <a:pt x="2008" y="5838"/>
                    <a:pt x="1994" y="5838"/>
                    <a:pt x="1994" y="5845"/>
                  </a:cubicBezTo>
                  <a:close/>
                  <a:moveTo>
                    <a:pt x="1746" y="5703"/>
                  </a:moveTo>
                  <a:lnTo>
                    <a:pt x="1746" y="5703"/>
                  </a:lnTo>
                  <a:cubicBezTo>
                    <a:pt x="1739" y="5711"/>
                    <a:pt x="1739" y="5711"/>
                    <a:pt x="1739" y="5718"/>
                  </a:cubicBezTo>
                  <a:cubicBezTo>
                    <a:pt x="1739" y="5725"/>
                    <a:pt x="1746" y="5733"/>
                    <a:pt x="1754" y="5733"/>
                  </a:cubicBezTo>
                  <a:cubicBezTo>
                    <a:pt x="1761" y="5741"/>
                    <a:pt x="1769" y="5748"/>
                    <a:pt x="1776" y="5755"/>
                  </a:cubicBezTo>
                  <a:cubicBezTo>
                    <a:pt x="1776" y="5763"/>
                    <a:pt x="1776" y="5763"/>
                    <a:pt x="1784" y="5763"/>
                  </a:cubicBezTo>
                  <a:cubicBezTo>
                    <a:pt x="1784" y="5771"/>
                    <a:pt x="1791" y="5771"/>
                    <a:pt x="1799" y="5778"/>
                  </a:cubicBezTo>
                  <a:cubicBezTo>
                    <a:pt x="1806" y="5785"/>
                    <a:pt x="1806" y="5793"/>
                    <a:pt x="1814" y="5793"/>
                  </a:cubicBezTo>
                  <a:cubicBezTo>
                    <a:pt x="1814" y="5793"/>
                    <a:pt x="1814" y="5793"/>
                    <a:pt x="1821" y="5785"/>
                  </a:cubicBezTo>
                  <a:cubicBezTo>
                    <a:pt x="1829" y="5785"/>
                    <a:pt x="1829" y="5771"/>
                    <a:pt x="1836" y="5771"/>
                  </a:cubicBezTo>
                  <a:cubicBezTo>
                    <a:pt x="1844" y="5771"/>
                    <a:pt x="1851" y="5771"/>
                    <a:pt x="1859" y="5763"/>
                  </a:cubicBezTo>
                  <a:cubicBezTo>
                    <a:pt x="1851" y="5755"/>
                    <a:pt x="1844" y="5755"/>
                    <a:pt x="1836" y="5748"/>
                  </a:cubicBezTo>
                  <a:cubicBezTo>
                    <a:pt x="1821" y="5741"/>
                    <a:pt x="1821" y="5718"/>
                    <a:pt x="1806" y="5718"/>
                  </a:cubicBezTo>
                  <a:cubicBezTo>
                    <a:pt x="1799" y="5718"/>
                    <a:pt x="1791" y="5725"/>
                    <a:pt x="1784" y="5718"/>
                  </a:cubicBezTo>
                  <a:cubicBezTo>
                    <a:pt x="1769" y="5718"/>
                    <a:pt x="1761" y="5711"/>
                    <a:pt x="1746" y="5703"/>
                  </a:cubicBezTo>
                  <a:close/>
                  <a:moveTo>
                    <a:pt x="1319" y="4009"/>
                  </a:moveTo>
                  <a:lnTo>
                    <a:pt x="1319" y="4009"/>
                  </a:lnTo>
                  <a:cubicBezTo>
                    <a:pt x="1304" y="4039"/>
                    <a:pt x="1282" y="4039"/>
                    <a:pt x="1252" y="4054"/>
                  </a:cubicBezTo>
                  <a:cubicBezTo>
                    <a:pt x="1244" y="4054"/>
                    <a:pt x="1236" y="4054"/>
                    <a:pt x="1229" y="4069"/>
                  </a:cubicBezTo>
                  <a:cubicBezTo>
                    <a:pt x="1222" y="4084"/>
                    <a:pt x="1214" y="4092"/>
                    <a:pt x="1207" y="4114"/>
                  </a:cubicBezTo>
                  <a:cubicBezTo>
                    <a:pt x="1199" y="4122"/>
                    <a:pt x="1207" y="4137"/>
                    <a:pt x="1192" y="4144"/>
                  </a:cubicBezTo>
                  <a:cubicBezTo>
                    <a:pt x="1192" y="4152"/>
                    <a:pt x="1184" y="4159"/>
                    <a:pt x="1177" y="4159"/>
                  </a:cubicBezTo>
                  <a:cubicBezTo>
                    <a:pt x="1184" y="4167"/>
                    <a:pt x="1184" y="4174"/>
                    <a:pt x="1192" y="4182"/>
                  </a:cubicBezTo>
                  <a:cubicBezTo>
                    <a:pt x="1199" y="4189"/>
                    <a:pt x="1207" y="4197"/>
                    <a:pt x="1214" y="4197"/>
                  </a:cubicBezTo>
                  <a:cubicBezTo>
                    <a:pt x="1222" y="4197"/>
                    <a:pt x="1229" y="4189"/>
                    <a:pt x="1236" y="4174"/>
                  </a:cubicBezTo>
                  <a:cubicBezTo>
                    <a:pt x="1244" y="4167"/>
                    <a:pt x="1252" y="4159"/>
                    <a:pt x="1259" y="4152"/>
                  </a:cubicBezTo>
                  <a:cubicBezTo>
                    <a:pt x="1259" y="4144"/>
                    <a:pt x="1259" y="4137"/>
                    <a:pt x="1267" y="4122"/>
                  </a:cubicBezTo>
                  <a:cubicBezTo>
                    <a:pt x="1267" y="4114"/>
                    <a:pt x="1267" y="4107"/>
                    <a:pt x="1274" y="4099"/>
                  </a:cubicBezTo>
                  <a:cubicBezTo>
                    <a:pt x="1274" y="4092"/>
                    <a:pt x="1274" y="4084"/>
                    <a:pt x="1274" y="4077"/>
                  </a:cubicBezTo>
                  <a:cubicBezTo>
                    <a:pt x="1282" y="4077"/>
                    <a:pt x="1282" y="4077"/>
                    <a:pt x="1289" y="4077"/>
                  </a:cubicBezTo>
                  <a:cubicBezTo>
                    <a:pt x="1297" y="4077"/>
                    <a:pt x="1297" y="4069"/>
                    <a:pt x="1304" y="4062"/>
                  </a:cubicBezTo>
                  <a:lnTo>
                    <a:pt x="1304" y="4054"/>
                  </a:lnTo>
                  <a:cubicBezTo>
                    <a:pt x="1304" y="4039"/>
                    <a:pt x="1312" y="4039"/>
                    <a:pt x="1319" y="4032"/>
                  </a:cubicBezTo>
                  <a:cubicBezTo>
                    <a:pt x="1319" y="4025"/>
                    <a:pt x="1319" y="4025"/>
                    <a:pt x="1327" y="4017"/>
                  </a:cubicBezTo>
                  <a:cubicBezTo>
                    <a:pt x="1319" y="4009"/>
                    <a:pt x="1319" y="4009"/>
                    <a:pt x="1319" y="4009"/>
                  </a:cubicBezTo>
                  <a:close/>
                  <a:moveTo>
                    <a:pt x="1409" y="3845"/>
                  </a:moveTo>
                  <a:lnTo>
                    <a:pt x="1409" y="3845"/>
                  </a:lnTo>
                  <a:cubicBezTo>
                    <a:pt x="1409" y="3860"/>
                    <a:pt x="1409" y="3860"/>
                    <a:pt x="1401" y="3875"/>
                  </a:cubicBezTo>
                  <a:cubicBezTo>
                    <a:pt x="1401" y="3882"/>
                    <a:pt x="1394" y="3882"/>
                    <a:pt x="1394" y="3890"/>
                  </a:cubicBezTo>
                  <a:cubicBezTo>
                    <a:pt x="1394" y="3897"/>
                    <a:pt x="1401" y="3897"/>
                    <a:pt x="1401" y="3905"/>
                  </a:cubicBezTo>
                  <a:cubicBezTo>
                    <a:pt x="1409" y="3919"/>
                    <a:pt x="1417" y="3927"/>
                    <a:pt x="1417" y="3949"/>
                  </a:cubicBezTo>
                  <a:cubicBezTo>
                    <a:pt x="1417" y="3949"/>
                    <a:pt x="1417" y="3949"/>
                    <a:pt x="1424" y="3949"/>
                  </a:cubicBezTo>
                  <a:cubicBezTo>
                    <a:pt x="1431" y="3949"/>
                    <a:pt x="1431" y="3942"/>
                    <a:pt x="1439" y="3942"/>
                  </a:cubicBezTo>
                  <a:cubicBezTo>
                    <a:pt x="1454" y="3935"/>
                    <a:pt x="1461" y="3935"/>
                    <a:pt x="1484" y="3935"/>
                  </a:cubicBezTo>
                  <a:cubicBezTo>
                    <a:pt x="1484" y="3927"/>
                    <a:pt x="1484" y="3927"/>
                    <a:pt x="1484" y="3919"/>
                  </a:cubicBezTo>
                  <a:cubicBezTo>
                    <a:pt x="1469" y="3912"/>
                    <a:pt x="1454" y="3912"/>
                    <a:pt x="1439" y="3897"/>
                  </a:cubicBezTo>
                  <a:cubicBezTo>
                    <a:pt x="1424" y="3890"/>
                    <a:pt x="1431" y="3875"/>
                    <a:pt x="1417" y="3860"/>
                  </a:cubicBezTo>
                  <a:cubicBezTo>
                    <a:pt x="1417" y="3852"/>
                    <a:pt x="1417" y="3852"/>
                    <a:pt x="1409" y="3845"/>
                  </a:cubicBezTo>
                  <a:close/>
                  <a:moveTo>
                    <a:pt x="1776" y="3425"/>
                  </a:moveTo>
                  <a:lnTo>
                    <a:pt x="1776" y="3425"/>
                  </a:lnTo>
                  <a:cubicBezTo>
                    <a:pt x="1776" y="3417"/>
                    <a:pt x="1784" y="3410"/>
                    <a:pt x="1784" y="3402"/>
                  </a:cubicBezTo>
                  <a:cubicBezTo>
                    <a:pt x="1776" y="3402"/>
                    <a:pt x="1776" y="3402"/>
                    <a:pt x="1769" y="3402"/>
                  </a:cubicBezTo>
                  <a:lnTo>
                    <a:pt x="1769" y="3402"/>
                  </a:lnTo>
                  <a:cubicBezTo>
                    <a:pt x="1761" y="3410"/>
                    <a:pt x="1754" y="3410"/>
                    <a:pt x="1739" y="3410"/>
                  </a:cubicBezTo>
                  <a:cubicBezTo>
                    <a:pt x="1724" y="3410"/>
                    <a:pt x="1716" y="3402"/>
                    <a:pt x="1709" y="3402"/>
                  </a:cubicBezTo>
                  <a:cubicBezTo>
                    <a:pt x="1694" y="3402"/>
                    <a:pt x="1694" y="3402"/>
                    <a:pt x="1694" y="3402"/>
                  </a:cubicBezTo>
                  <a:cubicBezTo>
                    <a:pt x="1694" y="3410"/>
                    <a:pt x="1694" y="3417"/>
                    <a:pt x="1694" y="3425"/>
                  </a:cubicBezTo>
                  <a:cubicBezTo>
                    <a:pt x="1694" y="3440"/>
                    <a:pt x="1686" y="3440"/>
                    <a:pt x="1686" y="3455"/>
                  </a:cubicBezTo>
                  <a:cubicBezTo>
                    <a:pt x="1686" y="3477"/>
                    <a:pt x="1701" y="3492"/>
                    <a:pt x="1701" y="3515"/>
                  </a:cubicBezTo>
                  <a:cubicBezTo>
                    <a:pt x="1709" y="3522"/>
                    <a:pt x="1709" y="3530"/>
                    <a:pt x="1716" y="3537"/>
                  </a:cubicBezTo>
                  <a:cubicBezTo>
                    <a:pt x="1724" y="3545"/>
                    <a:pt x="1724" y="3552"/>
                    <a:pt x="1731" y="3552"/>
                  </a:cubicBezTo>
                  <a:cubicBezTo>
                    <a:pt x="1731" y="3560"/>
                    <a:pt x="1731" y="3560"/>
                    <a:pt x="1739" y="3560"/>
                  </a:cubicBezTo>
                  <a:cubicBezTo>
                    <a:pt x="1746" y="3545"/>
                    <a:pt x="1746" y="3537"/>
                    <a:pt x="1754" y="3522"/>
                  </a:cubicBezTo>
                  <a:cubicBezTo>
                    <a:pt x="1761" y="3515"/>
                    <a:pt x="1761" y="3515"/>
                    <a:pt x="1769" y="3507"/>
                  </a:cubicBezTo>
                  <a:cubicBezTo>
                    <a:pt x="1784" y="3492"/>
                    <a:pt x="1791" y="3485"/>
                    <a:pt x="1799" y="3477"/>
                  </a:cubicBezTo>
                  <a:lnTo>
                    <a:pt x="1799" y="3470"/>
                  </a:lnTo>
                  <a:cubicBezTo>
                    <a:pt x="1791" y="3470"/>
                    <a:pt x="1791" y="3470"/>
                    <a:pt x="1784" y="3462"/>
                  </a:cubicBezTo>
                  <a:cubicBezTo>
                    <a:pt x="1776" y="3455"/>
                    <a:pt x="1776" y="3440"/>
                    <a:pt x="1776" y="3425"/>
                  </a:cubicBezTo>
                  <a:close/>
                  <a:moveTo>
                    <a:pt x="2024" y="3013"/>
                  </a:moveTo>
                  <a:lnTo>
                    <a:pt x="2024" y="3013"/>
                  </a:lnTo>
                  <a:cubicBezTo>
                    <a:pt x="2038" y="3005"/>
                    <a:pt x="2046" y="2998"/>
                    <a:pt x="2061" y="2998"/>
                  </a:cubicBezTo>
                  <a:cubicBezTo>
                    <a:pt x="2068" y="2998"/>
                    <a:pt x="2068" y="2990"/>
                    <a:pt x="2076" y="2998"/>
                  </a:cubicBezTo>
                  <a:cubicBezTo>
                    <a:pt x="2076" y="2998"/>
                    <a:pt x="2076" y="2998"/>
                    <a:pt x="2076" y="3005"/>
                  </a:cubicBezTo>
                  <a:cubicBezTo>
                    <a:pt x="2083" y="3013"/>
                    <a:pt x="2083" y="3013"/>
                    <a:pt x="2083" y="3020"/>
                  </a:cubicBezTo>
                  <a:cubicBezTo>
                    <a:pt x="2083" y="3035"/>
                    <a:pt x="2076" y="3043"/>
                    <a:pt x="2068" y="3058"/>
                  </a:cubicBezTo>
                  <a:cubicBezTo>
                    <a:pt x="2068" y="3065"/>
                    <a:pt x="2061" y="3073"/>
                    <a:pt x="2046" y="3080"/>
                  </a:cubicBezTo>
                  <a:cubicBezTo>
                    <a:pt x="2046" y="3088"/>
                    <a:pt x="2038" y="3095"/>
                    <a:pt x="2038" y="3103"/>
                  </a:cubicBezTo>
                  <a:cubicBezTo>
                    <a:pt x="2031" y="3118"/>
                    <a:pt x="2031" y="3125"/>
                    <a:pt x="2024" y="3140"/>
                  </a:cubicBezTo>
                  <a:cubicBezTo>
                    <a:pt x="2016" y="3148"/>
                    <a:pt x="2008" y="3155"/>
                    <a:pt x="1994" y="3163"/>
                  </a:cubicBezTo>
                  <a:cubicBezTo>
                    <a:pt x="1986" y="3163"/>
                    <a:pt x="1986" y="3178"/>
                    <a:pt x="1978" y="3178"/>
                  </a:cubicBezTo>
                  <a:cubicBezTo>
                    <a:pt x="1964" y="3178"/>
                    <a:pt x="1964" y="3178"/>
                    <a:pt x="1964" y="3178"/>
                  </a:cubicBezTo>
                  <a:cubicBezTo>
                    <a:pt x="1964" y="3163"/>
                    <a:pt x="1964" y="3155"/>
                    <a:pt x="1964" y="3148"/>
                  </a:cubicBezTo>
                  <a:cubicBezTo>
                    <a:pt x="1956" y="3148"/>
                    <a:pt x="1948" y="3163"/>
                    <a:pt x="1941" y="3163"/>
                  </a:cubicBezTo>
                  <a:cubicBezTo>
                    <a:pt x="1934" y="3163"/>
                    <a:pt x="1926" y="3155"/>
                    <a:pt x="1918" y="3148"/>
                  </a:cubicBezTo>
                  <a:cubicBezTo>
                    <a:pt x="1911" y="3140"/>
                    <a:pt x="1904" y="3140"/>
                    <a:pt x="1889" y="3140"/>
                  </a:cubicBezTo>
                  <a:cubicBezTo>
                    <a:pt x="1874" y="3140"/>
                    <a:pt x="1866" y="3148"/>
                    <a:pt x="1851" y="3148"/>
                  </a:cubicBezTo>
                  <a:cubicBezTo>
                    <a:pt x="1844" y="3148"/>
                    <a:pt x="1844" y="3133"/>
                    <a:pt x="1844" y="3125"/>
                  </a:cubicBezTo>
                  <a:lnTo>
                    <a:pt x="1836" y="3118"/>
                  </a:lnTo>
                  <a:cubicBezTo>
                    <a:pt x="1806" y="3133"/>
                    <a:pt x="1806" y="3163"/>
                    <a:pt x="1806" y="3193"/>
                  </a:cubicBezTo>
                  <a:cubicBezTo>
                    <a:pt x="1806" y="3208"/>
                    <a:pt x="1806" y="3215"/>
                    <a:pt x="1799" y="3230"/>
                  </a:cubicBezTo>
                  <a:cubicBezTo>
                    <a:pt x="1791" y="3245"/>
                    <a:pt x="1791" y="3253"/>
                    <a:pt x="1776" y="3267"/>
                  </a:cubicBezTo>
                  <a:cubicBezTo>
                    <a:pt x="1769" y="3275"/>
                    <a:pt x="1769" y="3283"/>
                    <a:pt x="1761" y="3283"/>
                  </a:cubicBezTo>
                  <a:cubicBezTo>
                    <a:pt x="1754" y="3283"/>
                    <a:pt x="1754" y="3275"/>
                    <a:pt x="1746" y="3275"/>
                  </a:cubicBezTo>
                  <a:cubicBezTo>
                    <a:pt x="1739" y="3275"/>
                    <a:pt x="1746" y="3283"/>
                    <a:pt x="1739" y="3283"/>
                  </a:cubicBezTo>
                  <a:cubicBezTo>
                    <a:pt x="1746" y="3290"/>
                    <a:pt x="1746" y="3290"/>
                    <a:pt x="1746" y="3297"/>
                  </a:cubicBezTo>
                  <a:cubicBezTo>
                    <a:pt x="1746" y="3305"/>
                    <a:pt x="1739" y="3305"/>
                    <a:pt x="1731" y="3305"/>
                  </a:cubicBezTo>
                  <a:cubicBezTo>
                    <a:pt x="1724" y="3313"/>
                    <a:pt x="1716" y="3313"/>
                    <a:pt x="1709" y="3320"/>
                  </a:cubicBezTo>
                  <a:cubicBezTo>
                    <a:pt x="1701" y="3327"/>
                    <a:pt x="1694" y="3335"/>
                    <a:pt x="1686" y="3343"/>
                  </a:cubicBezTo>
                  <a:cubicBezTo>
                    <a:pt x="1679" y="3350"/>
                    <a:pt x="1671" y="3350"/>
                    <a:pt x="1664" y="3357"/>
                  </a:cubicBezTo>
                  <a:cubicBezTo>
                    <a:pt x="1649" y="3373"/>
                    <a:pt x="1649" y="3380"/>
                    <a:pt x="1641" y="3395"/>
                  </a:cubicBezTo>
                  <a:cubicBezTo>
                    <a:pt x="1634" y="3402"/>
                    <a:pt x="1634" y="3410"/>
                    <a:pt x="1626" y="3417"/>
                  </a:cubicBezTo>
                  <a:cubicBezTo>
                    <a:pt x="1619" y="3425"/>
                    <a:pt x="1604" y="3425"/>
                    <a:pt x="1589" y="3425"/>
                  </a:cubicBezTo>
                  <a:cubicBezTo>
                    <a:pt x="1581" y="3425"/>
                    <a:pt x="1581" y="3425"/>
                    <a:pt x="1574" y="3425"/>
                  </a:cubicBezTo>
                  <a:cubicBezTo>
                    <a:pt x="1574" y="3402"/>
                    <a:pt x="1574" y="3402"/>
                    <a:pt x="1574" y="3402"/>
                  </a:cubicBezTo>
                  <a:cubicBezTo>
                    <a:pt x="1574" y="3395"/>
                    <a:pt x="1574" y="3395"/>
                    <a:pt x="1574" y="3395"/>
                  </a:cubicBezTo>
                  <a:cubicBezTo>
                    <a:pt x="1574" y="3387"/>
                    <a:pt x="1581" y="3380"/>
                    <a:pt x="1581" y="3373"/>
                  </a:cubicBezTo>
                  <a:cubicBezTo>
                    <a:pt x="1581" y="3365"/>
                    <a:pt x="1566" y="3350"/>
                    <a:pt x="1559" y="3350"/>
                  </a:cubicBezTo>
                  <a:cubicBezTo>
                    <a:pt x="1551" y="3350"/>
                    <a:pt x="1551" y="3350"/>
                    <a:pt x="1544" y="3357"/>
                  </a:cubicBezTo>
                  <a:cubicBezTo>
                    <a:pt x="1544" y="3343"/>
                    <a:pt x="1551" y="3335"/>
                    <a:pt x="1559" y="3327"/>
                  </a:cubicBezTo>
                  <a:cubicBezTo>
                    <a:pt x="1566" y="3320"/>
                    <a:pt x="1566" y="3313"/>
                    <a:pt x="1574" y="3305"/>
                  </a:cubicBezTo>
                  <a:lnTo>
                    <a:pt x="1574" y="3297"/>
                  </a:lnTo>
                  <a:cubicBezTo>
                    <a:pt x="1574" y="3297"/>
                    <a:pt x="1574" y="3297"/>
                    <a:pt x="1581" y="3297"/>
                  </a:cubicBezTo>
                  <a:cubicBezTo>
                    <a:pt x="1581" y="3297"/>
                    <a:pt x="1589" y="3297"/>
                    <a:pt x="1596" y="3297"/>
                  </a:cubicBezTo>
                  <a:cubicBezTo>
                    <a:pt x="1596" y="3297"/>
                    <a:pt x="1604" y="3297"/>
                    <a:pt x="1611" y="3297"/>
                  </a:cubicBezTo>
                  <a:cubicBezTo>
                    <a:pt x="1611" y="3290"/>
                    <a:pt x="1611" y="3283"/>
                    <a:pt x="1604" y="3283"/>
                  </a:cubicBezTo>
                  <a:cubicBezTo>
                    <a:pt x="1596" y="3275"/>
                    <a:pt x="1589" y="3275"/>
                    <a:pt x="1581" y="3275"/>
                  </a:cubicBezTo>
                  <a:cubicBezTo>
                    <a:pt x="1574" y="3267"/>
                    <a:pt x="1574" y="3260"/>
                    <a:pt x="1566" y="3260"/>
                  </a:cubicBezTo>
                  <a:cubicBezTo>
                    <a:pt x="1559" y="3253"/>
                    <a:pt x="1544" y="3260"/>
                    <a:pt x="1544" y="3245"/>
                  </a:cubicBezTo>
                  <a:cubicBezTo>
                    <a:pt x="1544" y="3237"/>
                    <a:pt x="1544" y="3230"/>
                    <a:pt x="1544" y="3223"/>
                  </a:cubicBezTo>
                  <a:cubicBezTo>
                    <a:pt x="1544" y="3208"/>
                    <a:pt x="1544" y="3208"/>
                    <a:pt x="1544" y="3193"/>
                  </a:cubicBezTo>
                  <a:cubicBezTo>
                    <a:pt x="1544" y="3185"/>
                    <a:pt x="1544" y="3185"/>
                    <a:pt x="1551" y="3178"/>
                  </a:cubicBezTo>
                  <a:cubicBezTo>
                    <a:pt x="1559" y="3148"/>
                    <a:pt x="1566" y="3133"/>
                    <a:pt x="1574" y="3110"/>
                  </a:cubicBezTo>
                  <a:cubicBezTo>
                    <a:pt x="1589" y="3088"/>
                    <a:pt x="1596" y="3080"/>
                    <a:pt x="1604" y="3065"/>
                  </a:cubicBezTo>
                  <a:cubicBezTo>
                    <a:pt x="1604" y="3050"/>
                    <a:pt x="1604" y="3043"/>
                    <a:pt x="1611" y="3035"/>
                  </a:cubicBezTo>
                  <a:cubicBezTo>
                    <a:pt x="1611" y="3028"/>
                    <a:pt x="1626" y="3020"/>
                    <a:pt x="1626" y="3005"/>
                  </a:cubicBezTo>
                  <a:cubicBezTo>
                    <a:pt x="1626" y="3005"/>
                    <a:pt x="1619" y="2998"/>
                    <a:pt x="1619" y="2990"/>
                  </a:cubicBezTo>
                  <a:cubicBezTo>
                    <a:pt x="1641" y="2990"/>
                    <a:pt x="1656" y="2983"/>
                    <a:pt x="1679" y="2983"/>
                  </a:cubicBezTo>
                  <a:cubicBezTo>
                    <a:pt x="1686" y="2983"/>
                    <a:pt x="1694" y="2975"/>
                    <a:pt x="1701" y="2975"/>
                  </a:cubicBezTo>
                  <a:cubicBezTo>
                    <a:pt x="1731" y="2968"/>
                    <a:pt x="1746" y="2968"/>
                    <a:pt x="1769" y="2960"/>
                  </a:cubicBezTo>
                  <a:cubicBezTo>
                    <a:pt x="1776" y="2960"/>
                    <a:pt x="1776" y="2953"/>
                    <a:pt x="1784" y="2953"/>
                  </a:cubicBezTo>
                  <a:cubicBezTo>
                    <a:pt x="1799" y="2953"/>
                    <a:pt x="1791" y="2968"/>
                    <a:pt x="1799" y="2983"/>
                  </a:cubicBezTo>
                  <a:cubicBezTo>
                    <a:pt x="1799" y="2998"/>
                    <a:pt x="1799" y="3005"/>
                    <a:pt x="1799" y="3020"/>
                  </a:cubicBezTo>
                  <a:cubicBezTo>
                    <a:pt x="1799" y="3043"/>
                    <a:pt x="1799" y="3050"/>
                    <a:pt x="1799" y="3073"/>
                  </a:cubicBezTo>
                  <a:cubicBezTo>
                    <a:pt x="1836" y="3065"/>
                    <a:pt x="1851" y="3043"/>
                    <a:pt x="1889" y="3028"/>
                  </a:cubicBezTo>
                  <a:cubicBezTo>
                    <a:pt x="1904" y="3020"/>
                    <a:pt x="1918" y="3020"/>
                    <a:pt x="1934" y="3013"/>
                  </a:cubicBezTo>
                  <a:cubicBezTo>
                    <a:pt x="1941" y="3005"/>
                    <a:pt x="1948" y="2998"/>
                    <a:pt x="1956" y="2990"/>
                  </a:cubicBezTo>
                  <a:cubicBezTo>
                    <a:pt x="1971" y="2990"/>
                    <a:pt x="1978" y="2990"/>
                    <a:pt x="1986" y="2990"/>
                  </a:cubicBezTo>
                  <a:cubicBezTo>
                    <a:pt x="1994" y="2990"/>
                    <a:pt x="1994" y="2990"/>
                    <a:pt x="1994" y="2990"/>
                  </a:cubicBezTo>
                  <a:cubicBezTo>
                    <a:pt x="2001" y="2990"/>
                    <a:pt x="2001" y="2990"/>
                    <a:pt x="2008" y="2990"/>
                  </a:cubicBezTo>
                  <a:cubicBezTo>
                    <a:pt x="2016" y="2990"/>
                    <a:pt x="2024" y="3005"/>
                    <a:pt x="2024" y="3013"/>
                  </a:cubicBezTo>
                  <a:close/>
                  <a:moveTo>
                    <a:pt x="1162" y="2181"/>
                  </a:moveTo>
                  <a:lnTo>
                    <a:pt x="1162" y="2181"/>
                  </a:lnTo>
                  <a:cubicBezTo>
                    <a:pt x="1162" y="2166"/>
                    <a:pt x="1162" y="2158"/>
                    <a:pt x="1154" y="2144"/>
                  </a:cubicBezTo>
                  <a:cubicBezTo>
                    <a:pt x="1154" y="2106"/>
                    <a:pt x="1124" y="2098"/>
                    <a:pt x="1094" y="2068"/>
                  </a:cubicBezTo>
                  <a:cubicBezTo>
                    <a:pt x="1087" y="2054"/>
                    <a:pt x="1064" y="2054"/>
                    <a:pt x="1064" y="2031"/>
                  </a:cubicBezTo>
                  <a:cubicBezTo>
                    <a:pt x="1064" y="2008"/>
                    <a:pt x="1087" y="1994"/>
                    <a:pt x="1087" y="1964"/>
                  </a:cubicBezTo>
                  <a:cubicBezTo>
                    <a:pt x="1087" y="1889"/>
                    <a:pt x="1087" y="1889"/>
                    <a:pt x="1087" y="1889"/>
                  </a:cubicBezTo>
                  <a:cubicBezTo>
                    <a:pt x="1087" y="1874"/>
                    <a:pt x="1072" y="1874"/>
                    <a:pt x="1072" y="1866"/>
                  </a:cubicBezTo>
                  <a:cubicBezTo>
                    <a:pt x="1072" y="1859"/>
                    <a:pt x="1079" y="1851"/>
                    <a:pt x="1079" y="1851"/>
                  </a:cubicBezTo>
                  <a:cubicBezTo>
                    <a:pt x="1162" y="1851"/>
                    <a:pt x="1207" y="1851"/>
                    <a:pt x="1289" y="1851"/>
                  </a:cubicBezTo>
                  <a:cubicBezTo>
                    <a:pt x="1297" y="1851"/>
                    <a:pt x="1304" y="1844"/>
                    <a:pt x="1304" y="1844"/>
                  </a:cubicBezTo>
                  <a:cubicBezTo>
                    <a:pt x="1312" y="1859"/>
                    <a:pt x="1319" y="1859"/>
                    <a:pt x="1327" y="1874"/>
                  </a:cubicBezTo>
                  <a:cubicBezTo>
                    <a:pt x="1327" y="1881"/>
                    <a:pt x="1327" y="1889"/>
                    <a:pt x="1334" y="1896"/>
                  </a:cubicBezTo>
                  <a:cubicBezTo>
                    <a:pt x="1342" y="1904"/>
                    <a:pt x="1357" y="1911"/>
                    <a:pt x="1364" y="1919"/>
                  </a:cubicBezTo>
                  <a:cubicBezTo>
                    <a:pt x="1371" y="1934"/>
                    <a:pt x="1371" y="1941"/>
                    <a:pt x="1379" y="1949"/>
                  </a:cubicBezTo>
                  <a:cubicBezTo>
                    <a:pt x="1379" y="1941"/>
                    <a:pt x="1379" y="1941"/>
                    <a:pt x="1379" y="1941"/>
                  </a:cubicBezTo>
                  <a:cubicBezTo>
                    <a:pt x="1379" y="1911"/>
                    <a:pt x="1379" y="1911"/>
                    <a:pt x="1379" y="1911"/>
                  </a:cubicBezTo>
                  <a:cubicBezTo>
                    <a:pt x="1379" y="1896"/>
                    <a:pt x="1379" y="1889"/>
                    <a:pt x="1387" y="1874"/>
                  </a:cubicBezTo>
                  <a:cubicBezTo>
                    <a:pt x="1401" y="1859"/>
                    <a:pt x="1409" y="1851"/>
                    <a:pt x="1409" y="1836"/>
                  </a:cubicBezTo>
                  <a:cubicBezTo>
                    <a:pt x="1409" y="1829"/>
                    <a:pt x="1409" y="1821"/>
                    <a:pt x="1401" y="1814"/>
                  </a:cubicBezTo>
                  <a:cubicBezTo>
                    <a:pt x="1401" y="1814"/>
                    <a:pt x="1394" y="1814"/>
                    <a:pt x="1394" y="1806"/>
                  </a:cubicBezTo>
                  <a:cubicBezTo>
                    <a:pt x="1394" y="1799"/>
                    <a:pt x="1394" y="1806"/>
                    <a:pt x="1394" y="1799"/>
                  </a:cubicBezTo>
                  <a:cubicBezTo>
                    <a:pt x="1394" y="1799"/>
                    <a:pt x="1394" y="1799"/>
                    <a:pt x="1394" y="1791"/>
                  </a:cubicBezTo>
                  <a:cubicBezTo>
                    <a:pt x="1394" y="1746"/>
                    <a:pt x="1371" y="1724"/>
                    <a:pt x="1342" y="1694"/>
                  </a:cubicBezTo>
                  <a:cubicBezTo>
                    <a:pt x="1342" y="1686"/>
                    <a:pt x="1342" y="1679"/>
                    <a:pt x="1349" y="1679"/>
                  </a:cubicBezTo>
                  <a:cubicBezTo>
                    <a:pt x="1371" y="1671"/>
                    <a:pt x="1387" y="1686"/>
                    <a:pt x="1401" y="1679"/>
                  </a:cubicBezTo>
                  <a:cubicBezTo>
                    <a:pt x="1409" y="1679"/>
                    <a:pt x="1409" y="1671"/>
                    <a:pt x="1409" y="1664"/>
                  </a:cubicBezTo>
                  <a:cubicBezTo>
                    <a:pt x="1431" y="1641"/>
                    <a:pt x="1431" y="1619"/>
                    <a:pt x="1439" y="1589"/>
                  </a:cubicBezTo>
                  <a:cubicBezTo>
                    <a:pt x="1469" y="1604"/>
                    <a:pt x="1477" y="1619"/>
                    <a:pt x="1506" y="1634"/>
                  </a:cubicBezTo>
                  <a:cubicBezTo>
                    <a:pt x="1514" y="1641"/>
                    <a:pt x="1521" y="1641"/>
                    <a:pt x="1529" y="1649"/>
                  </a:cubicBezTo>
                  <a:cubicBezTo>
                    <a:pt x="1536" y="1656"/>
                    <a:pt x="1529" y="1671"/>
                    <a:pt x="1536" y="1686"/>
                  </a:cubicBezTo>
                  <a:cubicBezTo>
                    <a:pt x="1536" y="1694"/>
                    <a:pt x="1544" y="1701"/>
                    <a:pt x="1551" y="1709"/>
                  </a:cubicBezTo>
                  <a:cubicBezTo>
                    <a:pt x="1551" y="1716"/>
                    <a:pt x="1559" y="1731"/>
                    <a:pt x="1574" y="1731"/>
                  </a:cubicBezTo>
                  <a:cubicBezTo>
                    <a:pt x="1581" y="1731"/>
                    <a:pt x="1581" y="1716"/>
                    <a:pt x="1596" y="1709"/>
                  </a:cubicBezTo>
                  <a:cubicBezTo>
                    <a:pt x="1619" y="1694"/>
                    <a:pt x="1634" y="1679"/>
                    <a:pt x="1656" y="1664"/>
                  </a:cubicBezTo>
                  <a:cubicBezTo>
                    <a:pt x="1679" y="1656"/>
                    <a:pt x="1686" y="1641"/>
                    <a:pt x="1709" y="1634"/>
                  </a:cubicBezTo>
                  <a:cubicBezTo>
                    <a:pt x="1724" y="1626"/>
                    <a:pt x="1754" y="1626"/>
                    <a:pt x="1754" y="1604"/>
                  </a:cubicBezTo>
                  <a:cubicBezTo>
                    <a:pt x="1754" y="1581"/>
                    <a:pt x="1724" y="1574"/>
                    <a:pt x="1701" y="1559"/>
                  </a:cubicBezTo>
                  <a:cubicBezTo>
                    <a:pt x="1709" y="1537"/>
                    <a:pt x="1724" y="1529"/>
                    <a:pt x="1739" y="1514"/>
                  </a:cubicBezTo>
                  <a:cubicBezTo>
                    <a:pt x="1746" y="1507"/>
                    <a:pt x="1754" y="1499"/>
                    <a:pt x="1761" y="1499"/>
                  </a:cubicBezTo>
                  <a:cubicBezTo>
                    <a:pt x="1776" y="1491"/>
                    <a:pt x="1791" y="1491"/>
                    <a:pt x="1799" y="1484"/>
                  </a:cubicBezTo>
                  <a:cubicBezTo>
                    <a:pt x="1814" y="1477"/>
                    <a:pt x="1814" y="1469"/>
                    <a:pt x="1821" y="1461"/>
                  </a:cubicBezTo>
                  <a:cubicBezTo>
                    <a:pt x="1821" y="1461"/>
                    <a:pt x="1829" y="1461"/>
                    <a:pt x="1836" y="1461"/>
                  </a:cubicBezTo>
                  <a:cubicBezTo>
                    <a:pt x="1844" y="1484"/>
                    <a:pt x="1844" y="1499"/>
                    <a:pt x="1844" y="1521"/>
                  </a:cubicBezTo>
                  <a:cubicBezTo>
                    <a:pt x="1851" y="1544"/>
                    <a:pt x="1851" y="1551"/>
                    <a:pt x="1866" y="1559"/>
                  </a:cubicBezTo>
                  <a:cubicBezTo>
                    <a:pt x="1866" y="1567"/>
                    <a:pt x="1874" y="1559"/>
                    <a:pt x="1881" y="1559"/>
                  </a:cubicBezTo>
                  <a:cubicBezTo>
                    <a:pt x="1934" y="1559"/>
                    <a:pt x="1964" y="1559"/>
                    <a:pt x="2001" y="1521"/>
                  </a:cubicBezTo>
                  <a:cubicBezTo>
                    <a:pt x="2024" y="1499"/>
                    <a:pt x="2054" y="1491"/>
                    <a:pt x="2054" y="1454"/>
                  </a:cubicBezTo>
                  <a:cubicBezTo>
                    <a:pt x="2054" y="1447"/>
                    <a:pt x="2046" y="1439"/>
                    <a:pt x="2046" y="1424"/>
                  </a:cubicBezTo>
                  <a:cubicBezTo>
                    <a:pt x="2046" y="1409"/>
                    <a:pt x="2061" y="1394"/>
                    <a:pt x="2068" y="1379"/>
                  </a:cubicBezTo>
                  <a:cubicBezTo>
                    <a:pt x="2076" y="1364"/>
                    <a:pt x="2076" y="1357"/>
                    <a:pt x="2083" y="1342"/>
                  </a:cubicBezTo>
                  <a:cubicBezTo>
                    <a:pt x="2091" y="1334"/>
                    <a:pt x="2106" y="1334"/>
                    <a:pt x="2106" y="1319"/>
                  </a:cubicBezTo>
                  <a:cubicBezTo>
                    <a:pt x="2106" y="1289"/>
                    <a:pt x="2091" y="1282"/>
                    <a:pt x="2076" y="1259"/>
                  </a:cubicBezTo>
                  <a:cubicBezTo>
                    <a:pt x="2076" y="1252"/>
                    <a:pt x="2068" y="1252"/>
                    <a:pt x="2068" y="1244"/>
                  </a:cubicBezTo>
                  <a:cubicBezTo>
                    <a:pt x="2068" y="1207"/>
                    <a:pt x="2106" y="1192"/>
                    <a:pt x="2136" y="1169"/>
                  </a:cubicBezTo>
                  <a:cubicBezTo>
                    <a:pt x="2166" y="1147"/>
                    <a:pt x="2188" y="1139"/>
                    <a:pt x="2226" y="1139"/>
                  </a:cubicBezTo>
                  <a:cubicBezTo>
                    <a:pt x="2263" y="1132"/>
                    <a:pt x="2286" y="1132"/>
                    <a:pt x="2316" y="1117"/>
                  </a:cubicBezTo>
                  <a:cubicBezTo>
                    <a:pt x="2331" y="1102"/>
                    <a:pt x="2323" y="1079"/>
                    <a:pt x="2338" y="1064"/>
                  </a:cubicBezTo>
                  <a:cubicBezTo>
                    <a:pt x="2346" y="1057"/>
                    <a:pt x="2361" y="1064"/>
                    <a:pt x="2376" y="1064"/>
                  </a:cubicBezTo>
                  <a:cubicBezTo>
                    <a:pt x="2398" y="1064"/>
                    <a:pt x="2413" y="1064"/>
                    <a:pt x="2428" y="1064"/>
                  </a:cubicBezTo>
                  <a:cubicBezTo>
                    <a:pt x="2443" y="1072"/>
                    <a:pt x="2443" y="1079"/>
                    <a:pt x="2458" y="1079"/>
                  </a:cubicBezTo>
                  <a:cubicBezTo>
                    <a:pt x="2481" y="1079"/>
                    <a:pt x="2488" y="1049"/>
                    <a:pt x="2511" y="1049"/>
                  </a:cubicBezTo>
                  <a:cubicBezTo>
                    <a:pt x="2526" y="1049"/>
                    <a:pt x="2526" y="1064"/>
                    <a:pt x="2533" y="1072"/>
                  </a:cubicBezTo>
                  <a:cubicBezTo>
                    <a:pt x="2541" y="1102"/>
                    <a:pt x="2548" y="1132"/>
                    <a:pt x="2578" y="1132"/>
                  </a:cubicBezTo>
                  <a:cubicBezTo>
                    <a:pt x="2601" y="1132"/>
                    <a:pt x="2608" y="1117"/>
                    <a:pt x="2623" y="1094"/>
                  </a:cubicBezTo>
                  <a:cubicBezTo>
                    <a:pt x="2646" y="1102"/>
                    <a:pt x="2660" y="1102"/>
                    <a:pt x="2683" y="1102"/>
                  </a:cubicBezTo>
                  <a:cubicBezTo>
                    <a:pt x="2683" y="1109"/>
                    <a:pt x="2690" y="1117"/>
                    <a:pt x="2690" y="1124"/>
                  </a:cubicBezTo>
                  <a:cubicBezTo>
                    <a:pt x="2690" y="1162"/>
                    <a:pt x="2660" y="1177"/>
                    <a:pt x="2660" y="1214"/>
                  </a:cubicBezTo>
                  <a:cubicBezTo>
                    <a:pt x="2660" y="1237"/>
                    <a:pt x="2676" y="1244"/>
                    <a:pt x="2690" y="1267"/>
                  </a:cubicBezTo>
                  <a:cubicBezTo>
                    <a:pt x="2713" y="1304"/>
                    <a:pt x="2728" y="1327"/>
                    <a:pt x="2743" y="1372"/>
                  </a:cubicBezTo>
                  <a:cubicBezTo>
                    <a:pt x="2758" y="1402"/>
                    <a:pt x="2780" y="1417"/>
                    <a:pt x="2803" y="1447"/>
                  </a:cubicBezTo>
                  <a:cubicBezTo>
                    <a:pt x="2825" y="1469"/>
                    <a:pt x="2840" y="1484"/>
                    <a:pt x="2870" y="1499"/>
                  </a:cubicBezTo>
                  <a:cubicBezTo>
                    <a:pt x="2900" y="1514"/>
                    <a:pt x="2923" y="1521"/>
                    <a:pt x="2968" y="1529"/>
                  </a:cubicBezTo>
                  <a:cubicBezTo>
                    <a:pt x="3013" y="1537"/>
                    <a:pt x="3043" y="1544"/>
                    <a:pt x="3095" y="1551"/>
                  </a:cubicBezTo>
                  <a:cubicBezTo>
                    <a:pt x="3110" y="1551"/>
                    <a:pt x="3118" y="1559"/>
                    <a:pt x="3133" y="1559"/>
                  </a:cubicBezTo>
                  <a:cubicBezTo>
                    <a:pt x="3170" y="1559"/>
                    <a:pt x="3193" y="1544"/>
                    <a:pt x="3215" y="1521"/>
                  </a:cubicBezTo>
                  <a:cubicBezTo>
                    <a:pt x="3230" y="1514"/>
                    <a:pt x="3237" y="1507"/>
                    <a:pt x="3245" y="1499"/>
                  </a:cubicBezTo>
                  <a:cubicBezTo>
                    <a:pt x="3267" y="1477"/>
                    <a:pt x="3275" y="1454"/>
                    <a:pt x="3297" y="1424"/>
                  </a:cubicBezTo>
                  <a:cubicBezTo>
                    <a:pt x="3342" y="1424"/>
                    <a:pt x="3365" y="1424"/>
                    <a:pt x="3402" y="1424"/>
                  </a:cubicBezTo>
                  <a:cubicBezTo>
                    <a:pt x="3447" y="1424"/>
                    <a:pt x="3477" y="1439"/>
                    <a:pt x="3500" y="1477"/>
                  </a:cubicBezTo>
                  <a:cubicBezTo>
                    <a:pt x="3507" y="1491"/>
                    <a:pt x="3507" y="1499"/>
                    <a:pt x="3515" y="1514"/>
                  </a:cubicBezTo>
                  <a:cubicBezTo>
                    <a:pt x="3530" y="1551"/>
                    <a:pt x="3545" y="1581"/>
                    <a:pt x="3545" y="1626"/>
                  </a:cubicBezTo>
                  <a:cubicBezTo>
                    <a:pt x="3545" y="1656"/>
                    <a:pt x="3537" y="1671"/>
                    <a:pt x="3522" y="1694"/>
                  </a:cubicBezTo>
                  <a:cubicBezTo>
                    <a:pt x="3507" y="1724"/>
                    <a:pt x="3500" y="1746"/>
                    <a:pt x="3477" y="1769"/>
                  </a:cubicBezTo>
                  <a:cubicBezTo>
                    <a:pt x="3470" y="1791"/>
                    <a:pt x="3455" y="1799"/>
                    <a:pt x="3440" y="1821"/>
                  </a:cubicBezTo>
                  <a:cubicBezTo>
                    <a:pt x="3425" y="1851"/>
                    <a:pt x="3402" y="1874"/>
                    <a:pt x="3372" y="1874"/>
                  </a:cubicBezTo>
                  <a:cubicBezTo>
                    <a:pt x="3350" y="1874"/>
                    <a:pt x="3335" y="1859"/>
                    <a:pt x="3313" y="1859"/>
                  </a:cubicBezTo>
                  <a:cubicBezTo>
                    <a:pt x="3305" y="1859"/>
                    <a:pt x="3297" y="1866"/>
                    <a:pt x="3283" y="1866"/>
                  </a:cubicBezTo>
                  <a:cubicBezTo>
                    <a:pt x="3283" y="1889"/>
                    <a:pt x="3283" y="1889"/>
                    <a:pt x="3283" y="1889"/>
                  </a:cubicBezTo>
                  <a:cubicBezTo>
                    <a:pt x="3283" y="1896"/>
                    <a:pt x="3290" y="1904"/>
                    <a:pt x="3297" y="1911"/>
                  </a:cubicBezTo>
                  <a:cubicBezTo>
                    <a:pt x="3305" y="1941"/>
                    <a:pt x="3305" y="1956"/>
                    <a:pt x="3327" y="1979"/>
                  </a:cubicBezTo>
                  <a:cubicBezTo>
                    <a:pt x="3342" y="1994"/>
                    <a:pt x="3372" y="2001"/>
                    <a:pt x="3402" y="2001"/>
                  </a:cubicBezTo>
                  <a:cubicBezTo>
                    <a:pt x="3447" y="2001"/>
                    <a:pt x="3470" y="1986"/>
                    <a:pt x="3515" y="1986"/>
                  </a:cubicBezTo>
                  <a:cubicBezTo>
                    <a:pt x="3530" y="1986"/>
                    <a:pt x="3537" y="2001"/>
                    <a:pt x="3545" y="2001"/>
                  </a:cubicBezTo>
                  <a:cubicBezTo>
                    <a:pt x="3575" y="2008"/>
                    <a:pt x="3597" y="2024"/>
                    <a:pt x="3627" y="2024"/>
                  </a:cubicBezTo>
                  <a:cubicBezTo>
                    <a:pt x="3657" y="2024"/>
                    <a:pt x="3680" y="2008"/>
                    <a:pt x="3710" y="2001"/>
                  </a:cubicBezTo>
                  <a:cubicBezTo>
                    <a:pt x="3702" y="2024"/>
                    <a:pt x="3695" y="2031"/>
                    <a:pt x="3680" y="2054"/>
                  </a:cubicBezTo>
                  <a:cubicBezTo>
                    <a:pt x="3650" y="2084"/>
                    <a:pt x="3635" y="2114"/>
                    <a:pt x="3627" y="2151"/>
                  </a:cubicBezTo>
                  <a:cubicBezTo>
                    <a:pt x="3657" y="2166"/>
                    <a:pt x="3680" y="2173"/>
                    <a:pt x="3710" y="2166"/>
                  </a:cubicBezTo>
                  <a:cubicBezTo>
                    <a:pt x="3717" y="2181"/>
                    <a:pt x="3717" y="2181"/>
                    <a:pt x="3717" y="2181"/>
                  </a:cubicBezTo>
                  <a:cubicBezTo>
                    <a:pt x="3710" y="2196"/>
                    <a:pt x="3702" y="2203"/>
                    <a:pt x="3702" y="2218"/>
                  </a:cubicBezTo>
                  <a:cubicBezTo>
                    <a:pt x="3702" y="2233"/>
                    <a:pt x="3717" y="2241"/>
                    <a:pt x="3725" y="2241"/>
                  </a:cubicBezTo>
                  <a:cubicBezTo>
                    <a:pt x="3755" y="2248"/>
                    <a:pt x="3777" y="2248"/>
                    <a:pt x="3807" y="2248"/>
                  </a:cubicBezTo>
                  <a:cubicBezTo>
                    <a:pt x="3807" y="2263"/>
                    <a:pt x="3807" y="2263"/>
                    <a:pt x="3807" y="2263"/>
                  </a:cubicBezTo>
                  <a:cubicBezTo>
                    <a:pt x="3792" y="2271"/>
                    <a:pt x="3785" y="2278"/>
                    <a:pt x="3770" y="2286"/>
                  </a:cubicBezTo>
                  <a:cubicBezTo>
                    <a:pt x="3755" y="2301"/>
                    <a:pt x="3740" y="2308"/>
                    <a:pt x="3740" y="2331"/>
                  </a:cubicBezTo>
                  <a:cubicBezTo>
                    <a:pt x="3740" y="2338"/>
                    <a:pt x="3747" y="2346"/>
                    <a:pt x="3747" y="2353"/>
                  </a:cubicBezTo>
                  <a:cubicBezTo>
                    <a:pt x="3755" y="2368"/>
                    <a:pt x="3755" y="2383"/>
                    <a:pt x="3762" y="2391"/>
                  </a:cubicBezTo>
                  <a:cubicBezTo>
                    <a:pt x="3770" y="2398"/>
                    <a:pt x="3785" y="2398"/>
                    <a:pt x="3792" y="2398"/>
                  </a:cubicBezTo>
                  <a:cubicBezTo>
                    <a:pt x="3822" y="2413"/>
                    <a:pt x="3837" y="2413"/>
                    <a:pt x="3867" y="2428"/>
                  </a:cubicBezTo>
                  <a:cubicBezTo>
                    <a:pt x="3852" y="2451"/>
                    <a:pt x="3830" y="2458"/>
                    <a:pt x="3830" y="2481"/>
                  </a:cubicBezTo>
                  <a:cubicBezTo>
                    <a:pt x="3830" y="2496"/>
                    <a:pt x="3837" y="2503"/>
                    <a:pt x="3837" y="2526"/>
                  </a:cubicBezTo>
                  <a:cubicBezTo>
                    <a:pt x="3837" y="2541"/>
                    <a:pt x="3822" y="2548"/>
                    <a:pt x="3815" y="2556"/>
                  </a:cubicBezTo>
                  <a:cubicBezTo>
                    <a:pt x="3807" y="2578"/>
                    <a:pt x="3815" y="2593"/>
                    <a:pt x="3815" y="2608"/>
                  </a:cubicBezTo>
                  <a:cubicBezTo>
                    <a:pt x="3807" y="2616"/>
                    <a:pt x="3800" y="2616"/>
                    <a:pt x="3792" y="2616"/>
                  </a:cubicBezTo>
                  <a:cubicBezTo>
                    <a:pt x="3762" y="2616"/>
                    <a:pt x="3747" y="2608"/>
                    <a:pt x="3717" y="2608"/>
                  </a:cubicBezTo>
                  <a:cubicBezTo>
                    <a:pt x="3710" y="2631"/>
                    <a:pt x="3702" y="2646"/>
                    <a:pt x="3695" y="2668"/>
                  </a:cubicBezTo>
                  <a:cubicBezTo>
                    <a:pt x="3695" y="2676"/>
                    <a:pt x="3695" y="2683"/>
                    <a:pt x="3687" y="2690"/>
                  </a:cubicBezTo>
                  <a:cubicBezTo>
                    <a:pt x="3687" y="2698"/>
                    <a:pt x="3680" y="2698"/>
                    <a:pt x="3672" y="2698"/>
                  </a:cubicBezTo>
                  <a:cubicBezTo>
                    <a:pt x="3665" y="2713"/>
                    <a:pt x="3657" y="2720"/>
                    <a:pt x="3642" y="2736"/>
                  </a:cubicBezTo>
                  <a:cubicBezTo>
                    <a:pt x="3620" y="2758"/>
                    <a:pt x="3620" y="2780"/>
                    <a:pt x="3605" y="2810"/>
                  </a:cubicBezTo>
                  <a:cubicBezTo>
                    <a:pt x="3582" y="2848"/>
                    <a:pt x="3582" y="2870"/>
                    <a:pt x="3545" y="2900"/>
                  </a:cubicBezTo>
                  <a:cubicBezTo>
                    <a:pt x="3537" y="2900"/>
                    <a:pt x="3530" y="2908"/>
                    <a:pt x="3522" y="2908"/>
                  </a:cubicBezTo>
                  <a:cubicBezTo>
                    <a:pt x="3515" y="2908"/>
                    <a:pt x="3515" y="2908"/>
                    <a:pt x="3507" y="2908"/>
                  </a:cubicBezTo>
                  <a:cubicBezTo>
                    <a:pt x="3500" y="2915"/>
                    <a:pt x="3500" y="2930"/>
                    <a:pt x="3500" y="2938"/>
                  </a:cubicBezTo>
                  <a:cubicBezTo>
                    <a:pt x="3492" y="2953"/>
                    <a:pt x="3485" y="2960"/>
                    <a:pt x="3485" y="2983"/>
                  </a:cubicBezTo>
                  <a:cubicBezTo>
                    <a:pt x="3485" y="2990"/>
                    <a:pt x="3492" y="2990"/>
                    <a:pt x="3500" y="2998"/>
                  </a:cubicBezTo>
                  <a:cubicBezTo>
                    <a:pt x="3500" y="3005"/>
                    <a:pt x="3515" y="3013"/>
                    <a:pt x="3515" y="3028"/>
                  </a:cubicBezTo>
                  <a:cubicBezTo>
                    <a:pt x="3515" y="3043"/>
                    <a:pt x="3500" y="3058"/>
                    <a:pt x="3500" y="3073"/>
                  </a:cubicBezTo>
                  <a:cubicBezTo>
                    <a:pt x="3492" y="3095"/>
                    <a:pt x="3485" y="3110"/>
                    <a:pt x="3470" y="3125"/>
                  </a:cubicBezTo>
                  <a:cubicBezTo>
                    <a:pt x="3462" y="3125"/>
                    <a:pt x="3462" y="3133"/>
                    <a:pt x="3462" y="3133"/>
                  </a:cubicBezTo>
                  <a:cubicBezTo>
                    <a:pt x="3447" y="3148"/>
                    <a:pt x="3432" y="3148"/>
                    <a:pt x="3425" y="3163"/>
                  </a:cubicBezTo>
                  <a:cubicBezTo>
                    <a:pt x="3417" y="3185"/>
                    <a:pt x="3417" y="3200"/>
                    <a:pt x="3410" y="3223"/>
                  </a:cubicBezTo>
                  <a:cubicBezTo>
                    <a:pt x="3395" y="3253"/>
                    <a:pt x="3380" y="3267"/>
                    <a:pt x="3365" y="3297"/>
                  </a:cubicBezTo>
                  <a:cubicBezTo>
                    <a:pt x="3350" y="3343"/>
                    <a:pt x="3350" y="3365"/>
                    <a:pt x="3342" y="3410"/>
                  </a:cubicBezTo>
                  <a:cubicBezTo>
                    <a:pt x="3335" y="3432"/>
                    <a:pt x="3335" y="3447"/>
                    <a:pt x="3327" y="3470"/>
                  </a:cubicBezTo>
                  <a:cubicBezTo>
                    <a:pt x="3320" y="3515"/>
                    <a:pt x="3320" y="3545"/>
                    <a:pt x="3305" y="3582"/>
                  </a:cubicBezTo>
                  <a:cubicBezTo>
                    <a:pt x="3297" y="3612"/>
                    <a:pt x="3275" y="3620"/>
                    <a:pt x="3260" y="3642"/>
                  </a:cubicBezTo>
                  <a:cubicBezTo>
                    <a:pt x="3237" y="3695"/>
                    <a:pt x="3237" y="3725"/>
                    <a:pt x="3237" y="3777"/>
                  </a:cubicBezTo>
                  <a:cubicBezTo>
                    <a:pt x="3237" y="3815"/>
                    <a:pt x="3230" y="3837"/>
                    <a:pt x="3223" y="3867"/>
                  </a:cubicBezTo>
                  <a:cubicBezTo>
                    <a:pt x="3223" y="3882"/>
                    <a:pt x="3215" y="3897"/>
                    <a:pt x="3215" y="3912"/>
                  </a:cubicBezTo>
                  <a:cubicBezTo>
                    <a:pt x="3215" y="3935"/>
                    <a:pt x="3237" y="3935"/>
                    <a:pt x="3237" y="3957"/>
                  </a:cubicBezTo>
                  <a:cubicBezTo>
                    <a:pt x="3237" y="3995"/>
                    <a:pt x="3230" y="4017"/>
                    <a:pt x="3230" y="4062"/>
                  </a:cubicBezTo>
                  <a:cubicBezTo>
                    <a:pt x="3230" y="4122"/>
                    <a:pt x="3230" y="4122"/>
                    <a:pt x="3230" y="4122"/>
                  </a:cubicBezTo>
                  <a:cubicBezTo>
                    <a:pt x="3230" y="4144"/>
                    <a:pt x="3237" y="4152"/>
                    <a:pt x="3237" y="4174"/>
                  </a:cubicBezTo>
                  <a:cubicBezTo>
                    <a:pt x="3237" y="4182"/>
                    <a:pt x="3230" y="4189"/>
                    <a:pt x="3223" y="4197"/>
                  </a:cubicBezTo>
                  <a:cubicBezTo>
                    <a:pt x="3207" y="4212"/>
                    <a:pt x="3200" y="4219"/>
                    <a:pt x="3185" y="4227"/>
                  </a:cubicBezTo>
                  <a:cubicBezTo>
                    <a:pt x="3170" y="4242"/>
                    <a:pt x="3170" y="4257"/>
                    <a:pt x="3163" y="4279"/>
                  </a:cubicBezTo>
                  <a:cubicBezTo>
                    <a:pt x="3155" y="4309"/>
                    <a:pt x="3163" y="4324"/>
                    <a:pt x="3148" y="4354"/>
                  </a:cubicBezTo>
                  <a:cubicBezTo>
                    <a:pt x="3140" y="4377"/>
                    <a:pt x="3133" y="4384"/>
                    <a:pt x="3118" y="4407"/>
                  </a:cubicBezTo>
                  <a:cubicBezTo>
                    <a:pt x="3125" y="4429"/>
                    <a:pt x="3125" y="4429"/>
                    <a:pt x="3125" y="4429"/>
                  </a:cubicBezTo>
                  <a:cubicBezTo>
                    <a:pt x="3110" y="4459"/>
                    <a:pt x="3080" y="4466"/>
                    <a:pt x="3073" y="4504"/>
                  </a:cubicBezTo>
                  <a:cubicBezTo>
                    <a:pt x="3073" y="4519"/>
                    <a:pt x="3073" y="4526"/>
                    <a:pt x="3073" y="4542"/>
                  </a:cubicBezTo>
                  <a:cubicBezTo>
                    <a:pt x="3065" y="4534"/>
                    <a:pt x="3058" y="4526"/>
                    <a:pt x="3050" y="4519"/>
                  </a:cubicBezTo>
                  <a:cubicBezTo>
                    <a:pt x="3020" y="4519"/>
                    <a:pt x="2998" y="4519"/>
                    <a:pt x="2975" y="4504"/>
                  </a:cubicBezTo>
                  <a:cubicBezTo>
                    <a:pt x="2983" y="4466"/>
                    <a:pt x="2983" y="4466"/>
                    <a:pt x="2983" y="4466"/>
                  </a:cubicBezTo>
                  <a:cubicBezTo>
                    <a:pt x="2975" y="4444"/>
                    <a:pt x="2953" y="4437"/>
                    <a:pt x="2930" y="4429"/>
                  </a:cubicBezTo>
                  <a:cubicBezTo>
                    <a:pt x="2915" y="4422"/>
                    <a:pt x="2900" y="4422"/>
                    <a:pt x="2885" y="4414"/>
                  </a:cubicBezTo>
                  <a:cubicBezTo>
                    <a:pt x="2870" y="4414"/>
                    <a:pt x="2863" y="4399"/>
                    <a:pt x="2848" y="4399"/>
                  </a:cubicBezTo>
                  <a:cubicBezTo>
                    <a:pt x="2818" y="4399"/>
                    <a:pt x="2810" y="4422"/>
                    <a:pt x="2788" y="4444"/>
                  </a:cubicBezTo>
                  <a:cubicBezTo>
                    <a:pt x="2766" y="4459"/>
                    <a:pt x="2750" y="4474"/>
                    <a:pt x="2743" y="4504"/>
                  </a:cubicBezTo>
                  <a:cubicBezTo>
                    <a:pt x="2736" y="4512"/>
                    <a:pt x="2736" y="4512"/>
                    <a:pt x="2736" y="4526"/>
                  </a:cubicBezTo>
                  <a:cubicBezTo>
                    <a:pt x="2736" y="4534"/>
                    <a:pt x="2743" y="4542"/>
                    <a:pt x="2750" y="4542"/>
                  </a:cubicBezTo>
                  <a:cubicBezTo>
                    <a:pt x="2766" y="4556"/>
                    <a:pt x="2780" y="4564"/>
                    <a:pt x="2803" y="4572"/>
                  </a:cubicBezTo>
                  <a:cubicBezTo>
                    <a:pt x="2818" y="4572"/>
                    <a:pt x="2833" y="4579"/>
                    <a:pt x="2833" y="4594"/>
                  </a:cubicBezTo>
                  <a:cubicBezTo>
                    <a:pt x="2833" y="4624"/>
                    <a:pt x="2803" y="4631"/>
                    <a:pt x="2803" y="4654"/>
                  </a:cubicBezTo>
                  <a:cubicBezTo>
                    <a:pt x="2803" y="4669"/>
                    <a:pt x="2810" y="4669"/>
                    <a:pt x="2818" y="4676"/>
                  </a:cubicBezTo>
                  <a:cubicBezTo>
                    <a:pt x="2825" y="4676"/>
                    <a:pt x="2818" y="4684"/>
                    <a:pt x="2825" y="4691"/>
                  </a:cubicBezTo>
                  <a:cubicBezTo>
                    <a:pt x="2803" y="4699"/>
                    <a:pt x="2795" y="4721"/>
                    <a:pt x="2773" y="4721"/>
                  </a:cubicBezTo>
                  <a:cubicBezTo>
                    <a:pt x="2766" y="4721"/>
                    <a:pt x="2758" y="4714"/>
                    <a:pt x="2743" y="4714"/>
                  </a:cubicBezTo>
                  <a:cubicBezTo>
                    <a:pt x="2720" y="4714"/>
                    <a:pt x="2720" y="4736"/>
                    <a:pt x="2713" y="4759"/>
                  </a:cubicBezTo>
                  <a:cubicBezTo>
                    <a:pt x="2706" y="4789"/>
                    <a:pt x="2706" y="4804"/>
                    <a:pt x="2690" y="4826"/>
                  </a:cubicBezTo>
                  <a:cubicBezTo>
                    <a:pt x="2660" y="4871"/>
                    <a:pt x="2623" y="4879"/>
                    <a:pt x="2571" y="4894"/>
                  </a:cubicBezTo>
                  <a:cubicBezTo>
                    <a:pt x="2541" y="4901"/>
                    <a:pt x="2518" y="4909"/>
                    <a:pt x="2488" y="4924"/>
                  </a:cubicBezTo>
                  <a:cubicBezTo>
                    <a:pt x="2443" y="4939"/>
                    <a:pt x="2413" y="4946"/>
                    <a:pt x="2383" y="4976"/>
                  </a:cubicBezTo>
                  <a:cubicBezTo>
                    <a:pt x="2346" y="5014"/>
                    <a:pt x="2338" y="5059"/>
                    <a:pt x="2338" y="4991"/>
                  </a:cubicBezTo>
                  <a:cubicBezTo>
                    <a:pt x="2338" y="4961"/>
                    <a:pt x="2331" y="4946"/>
                    <a:pt x="2308" y="4939"/>
                  </a:cubicBezTo>
                  <a:cubicBezTo>
                    <a:pt x="2323" y="4916"/>
                    <a:pt x="2346" y="4909"/>
                    <a:pt x="2368" y="4894"/>
                  </a:cubicBezTo>
                  <a:cubicBezTo>
                    <a:pt x="2391" y="4879"/>
                    <a:pt x="2398" y="4864"/>
                    <a:pt x="2406" y="4834"/>
                  </a:cubicBezTo>
                  <a:cubicBezTo>
                    <a:pt x="2413" y="4819"/>
                    <a:pt x="2421" y="4804"/>
                    <a:pt x="2421" y="4789"/>
                  </a:cubicBezTo>
                  <a:cubicBezTo>
                    <a:pt x="2421" y="4766"/>
                    <a:pt x="2421" y="4759"/>
                    <a:pt x="2421" y="4744"/>
                  </a:cubicBezTo>
                  <a:cubicBezTo>
                    <a:pt x="2421" y="4721"/>
                    <a:pt x="2458" y="4721"/>
                    <a:pt x="2458" y="4699"/>
                  </a:cubicBezTo>
                  <a:cubicBezTo>
                    <a:pt x="2458" y="4676"/>
                    <a:pt x="2451" y="4661"/>
                    <a:pt x="2451" y="4631"/>
                  </a:cubicBezTo>
                  <a:cubicBezTo>
                    <a:pt x="2458" y="4616"/>
                    <a:pt x="2473" y="4609"/>
                    <a:pt x="2473" y="4594"/>
                  </a:cubicBezTo>
                  <a:cubicBezTo>
                    <a:pt x="2473" y="4572"/>
                    <a:pt x="2466" y="4556"/>
                    <a:pt x="2458" y="4534"/>
                  </a:cubicBezTo>
                  <a:cubicBezTo>
                    <a:pt x="2451" y="4512"/>
                    <a:pt x="2451" y="4504"/>
                    <a:pt x="2443" y="4482"/>
                  </a:cubicBezTo>
                  <a:cubicBezTo>
                    <a:pt x="2436" y="4474"/>
                    <a:pt x="2428" y="4474"/>
                    <a:pt x="2421" y="4459"/>
                  </a:cubicBezTo>
                  <a:cubicBezTo>
                    <a:pt x="2413" y="4452"/>
                    <a:pt x="2413" y="4444"/>
                    <a:pt x="2398" y="4437"/>
                  </a:cubicBezTo>
                  <a:cubicBezTo>
                    <a:pt x="2391" y="4429"/>
                    <a:pt x="2383" y="4429"/>
                    <a:pt x="2376" y="4422"/>
                  </a:cubicBezTo>
                  <a:cubicBezTo>
                    <a:pt x="2368" y="4422"/>
                    <a:pt x="2368" y="4407"/>
                    <a:pt x="2368" y="4399"/>
                  </a:cubicBezTo>
                  <a:cubicBezTo>
                    <a:pt x="2361" y="4392"/>
                    <a:pt x="2361" y="4384"/>
                    <a:pt x="2361" y="4377"/>
                  </a:cubicBezTo>
                  <a:cubicBezTo>
                    <a:pt x="2361" y="4309"/>
                    <a:pt x="2361" y="4309"/>
                    <a:pt x="2361" y="4309"/>
                  </a:cubicBezTo>
                  <a:cubicBezTo>
                    <a:pt x="2331" y="4309"/>
                    <a:pt x="2316" y="4317"/>
                    <a:pt x="2293" y="4302"/>
                  </a:cubicBezTo>
                  <a:cubicBezTo>
                    <a:pt x="2286" y="4302"/>
                    <a:pt x="2278" y="4302"/>
                    <a:pt x="2278" y="4302"/>
                  </a:cubicBezTo>
                  <a:cubicBezTo>
                    <a:pt x="2271" y="4294"/>
                    <a:pt x="2271" y="4287"/>
                    <a:pt x="2271" y="4272"/>
                  </a:cubicBezTo>
                  <a:cubicBezTo>
                    <a:pt x="2271" y="4249"/>
                    <a:pt x="2293" y="4234"/>
                    <a:pt x="2316" y="4227"/>
                  </a:cubicBezTo>
                  <a:cubicBezTo>
                    <a:pt x="2323" y="4219"/>
                    <a:pt x="2331" y="4204"/>
                    <a:pt x="2353" y="4204"/>
                  </a:cubicBezTo>
                  <a:cubicBezTo>
                    <a:pt x="2361" y="4204"/>
                    <a:pt x="2361" y="4219"/>
                    <a:pt x="2368" y="4227"/>
                  </a:cubicBezTo>
                  <a:cubicBezTo>
                    <a:pt x="2376" y="4242"/>
                    <a:pt x="2383" y="4249"/>
                    <a:pt x="2383" y="4257"/>
                  </a:cubicBezTo>
                  <a:cubicBezTo>
                    <a:pt x="2383" y="4272"/>
                    <a:pt x="2376" y="4279"/>
                    <a:pt x="2376" y="4294"/>
                  </a:cubicBezTo>
                  <a:cubicBezTo>
                    <a:pt x="2406" y="4279"/>
                    <a:pt x="2436" y="4287"/>
                    <a:pt x="2451" y="4257"/>
                  </a:cubicBezTo>
                  <a:cubicBezTo>
                    <a:pt x="2473" y="4227"/>
                    <a:pt x="2466" y="4204"/>
                    <a:pt x="2488" y="4174"/>
                  </a:cubicBezTo>
                  <a:cubicBezTo>
                    <a:pt x="2488" y="4159"/>
                    <a:pt x="2503" y="4159"/>
                    <a:pt x="2503" y="4152"/>
                  </a:cubicBezTo>
                  <a:cubicBezTo>
                    <a:pt x="2503" y="4137"/>
                    <a:pt x="2488" y="4122"/>
                    <a:pt x="2481" y="4114"/>
                  </a:cubicBezTo>
                  <a:cubicBezTo>
                    <a:pt x="2473" y="4107"/>
                    <a:pt x="2466" y="4092"/>
                    <a:pt x="2451" y="4092"/>
                  </a:cubicBezTo>
                  <a:cubicBezTo>
                    <a:pt x="2436" y="4084"/>
                    <a:pt x="2428" y="4092"/>
                    <a:pt x="2413" y="4084"/>
                  </a:cubicBezTo>
                  <a:cubicBezTo>
                    <a:pt x="2413" y="4084"/>
                    <a:pt x="2406" y="4077"/>
                    <a:pt x="2406" y="4069"/>
                  </a:cubicBezTo>
                  <a:cubicBezTo>
                    <a:pt x="2383" y="4062"/>
                    <a:pt x="2376" y="4054"/>
                    <a:pt x="2368" y="4032"/>
                  </a:cubicBezTo>
                  <a:cubicBezTo>
                    <a:pt x="2361" y="4032"/>
                    <a:pt x="2361" y="4032"/>
                    <a:pt x="2353" y="4032"/>
                  </a:cubicBezTo>
                  <a:cubicBezTo>
                    <a:pt x="2338" y="4039"/>
                    <a:pt x="2338" y="4047"/>
                    <a:pt x="2323" y="4054"/>
                  </a:cubicBezTo>
                  <a:cubicBezTo>
                    <a:pt x="2293" y="4069"/>
                    <a:pt x="2263" y="4077"/>
                    <a:pt x="2263" y="4114"/>
                  </a:cubicBezTo>
                  <a:cubicBezTo>
                    <a:pt x="2263" y="4129"/>
                    <a:pt x="2278" y="4137"/>
                    <a:pt x="2278" y="4152"/>
                  </a:cubicBezTo>
                  <a:cubicBezTo>
                    <a:pt x="2278" y="4167"/>
                    <a:pt x="2263" y="4174"/>
                    <a:pt x="2256" y="4197"/>
                  </a:cubicBezTo>
                  <a:cubicBezTo>
                    <a:pt x="2256" y="4204"/>
                    <a:pt x="2256" y="4212"/>
                    <a:pt x="2256" y="4219"/>
                  </a:cubicBezTo>
                  <a:cubicBezTo>
                    <a:pt x="2248" y="4242"/>
                    <a:pt x="2233" y="4257"/>
                    <a:pt x="2218" y="4279"/>
                  </a:cubicBezTo>
                  <a:cubicBezTo>
                    <a:pt x="2211" y="4302"/>
                    <a:pt x="2203" y="4309"/>
                    <a:pt x="2196" y="4332"/>
                  </a:cubicBezTo>
                  <a:cubicBezTo>
                    <a:pt x="2196" y="4339"/>
                    <a:pt x="2196" y="4354"/>
                    <a:pt x="2196" y="4369"/>
                  </a:cubicBezTo>
                  <a:cubicBezTo>
                    <a:pt x="2188" y="4392"/>
                    <a:pt x="2173" y="4414"/>
                    <a:pt x="2173" y="4444"/>
                  </a:cubicBezTo>
                  <a:cubicBezTo>
                    <a:pt x="2173" y="4459"/>
                    <a:pt x="2181" y="4474"/>
                    <a:pt x="2188" y="4489"/>
                  </a:cubicBezTo>
                  <a:cubicBezTo>
                    <a:pt x="2196" y="4526"/>
                    <a:pt x="2196" y="4549"/>
                    <a:pt x="2203" y="4594"/>
                  </a:cubicBezTo>
                  <a:cubicBezTo>
                    <a:pt x="2203" y="4616"/>
                    <a:pt x="2226" y="4631"/>
                    <a:pt x="2248" y="4646"/>
                  </a:cubicBezTo>
                  <a:cubicBezTo>
                    <a:pt x="2256" y="4654"/>
                    <a:pt x="2256" y="4669"/>
                    <a:pt x="2263" y="4669"/>
                  </a:cubicBezTo>
                  <a:cubicBezTo>
                    <a:pt x="2271" y="4676"/>
                    <a:pt x="2286" y="4676"/>
                    <a:pt x="2293" y="4684"/>
                  </a:cubicBezTo>
                  <a:cubicBezTo>
                    <a:pt x="2301" y="4691"/>
                    <a:pt x="2293" y="4699"/>
                    <a:pt x="2301" y="4706"/>
                  </a:cubicBezTo>
                  <a:cubicBezTo>
                    <a:pt x="2301" y="4714"/>
                    <a:pt x="2308" y="4721"/>
                    <a:pt x="2308" y="4729"/>
                  </a:cubicBezTo>
                  <a:cubicBezTo>
                    <a:pt x="2308" y="4751"/>
                    <a:pt x="2308" y="4766"/>
                    <a:pt x="2293" y="4774"/>
                  </a:cubicBezTo>
                  <a:cubicBezTo>
                    <a:pt x="2278" y="4781"/>
                    <a:pt x="2263" y="4789"/>
                    <a:pt x="2256" y="4796"/>
                  </a:cubicBezTo>
                  <a:cubicBezTo>
                    <a:pt x="2248" y="4804"/>
                    <a:pt x="2248" y="4811"/>
                    <a:pt x="2241" y="4811"/>
                  </a:cubicBezTo>
                  <a:cubicBezTo>
                    <a:pt x="2218" y="4811"/>
                    <a:pt x="2211" y="4796"/>
                    <a:pt x="2196" y="4796"/>
                  </a:cubicBezTo>
                  <a:cubicBezTo>
                    <a:pt x="2181" y="4796"/>
                    <a:pt x="2181" y="4804"/>
                    <a:pt x="2173" y="4811"/>
                  </a:cubicBezTo>
                  <a:lnTo>
                    <a:pt x="2166" y="4811"/>
                  </a:lnTo>
                  <a:cubicBezTo>
                    <a:pt x="2158" y="4804"/>
                    <a:pt x="2151" y="4796"/>
                    <a:pt x="2151" y="4789"/>
                  </a:cubicBezTo>
                  <a:cubicBezTo>
                    <a:pt x="2151" y="4774"/>
                    <a:pt x="2151" y="4759"/>
                    <a:pt x="2151" y="4751"/>
                  </a:cubicBezTo>
                  <a:cubicBezTo>
                    <a:pt x="2143" y="4729"/>
                    <a:pt x="2128" y="4706"/>
                    <a:pt x="2106" y="4706"/>
                  </a:cubicBezTo>
                  <a:cubicBezTo>
                    <a:pt x="2061" y="4691"/>
                    <a:pt x="2038" y="4699"/>
                    <a:pt x="1994" y="4691"/>
                  </a:cubicBezTo>
                  <a:cubicBezTo>
                    <a:pt x="1941" y="4691"/>
                    <a:pt x="1918" y="4691"/>
                    <a:pt x="1874" y="4691"/>
                  </a:cubicBezTo>
                  <a:cubicBezTo>
                    <a:pt x="1859" y="4691"/>
                    <a:pt x="1851" y="4691"/>
                    <a:pt x="1844" y="4691"/>
                  </a:cubicBezTo>
                  <a:cubicBezTo>
                    <a:pt x="1829" y="4684"/>
                    <a:pt x="1829" y="4669"/>
                    <a:pt x="1821" y="4654"/>
                  </a:cubicBezTo>
                  <a:cubicBezTo>
                    <a:pt x="1821" y="4654"/>
                    <a:pt x="1814" y="4654"/>
                    <a:pt x="1814" y="4646"/>
                  </a:cubicBezTo>
                  <a:cubicBezTo>
                    <a:pt x="1806" y="4631"/>
                    <a:pt x="1806" y="4624"/>
                    <a:pt x="1806" y="4609"/>
                  </a:cubicBezTo>
                  <a:cubicBezTo>
                    <a:pt x="1799" y="4609"/>
                    <a:pt x="1791" y="4601"/>
                    <a:pt x="1784" y="4601"/>
                  </a:cubicBezTo>
                  <a:cubicBezTo>
                    <a:pt x="1784" y="4601"/>
                    <a:pt x="1776" y="4594"/>
                    <a:pt x="1784" y="4594"/>
                  </a:cubicBezTo>
                  <a:cubicBezTo>
                    <a:pt x="1784" y="4586"/>
                    <a:pt x="1791" y="4586"/>
                    <a:pt x="1791" y="4579"/>
                  </a:cubicBezTo>
                  <a:cubicBezTo>
                    <a:pt x="1791" y="4556"/>
                    <a:pt x="1776" y="4549"/>
                    <a:pt x="1761" y="4542"/>
                  </a:cubicBezTo>
                  <a:cubicBezTo>
                    <a:pt x="1739" y="4526"/>
                    <a:pt x="1716" y="4519"/>
                    <a:pt x="1701" y="4496"/>
                  </a:cubicBezTo>
                  <a:cubicBezTo>
                    <a:pt x="1731" y="4482"/>
                    <a:pt x="1746" y="4474"/>
                    <a:pt x="1761" y="4452"/>
                  </a:cubicBezTo>
                  <a:cubicBezTo>
                    <a:pt x="1776" y="4466"/>
                    <a:pt x="1791" y="4474"/>
                    <a:pt x="1806" y="4482"/>
                  </a:cubicBezTo>
                  <a:cubicBezTo>
                    <a:pt x="1821" y="4489"/>
                    <a:pt x="1829" y="4504"/>
                    <a:pt x="1844" y="4504"/>
                  </a:cubicBezTo>
                  <a:cubicBezTo>
                    <a:pt x="1859" y="4504"/>
                    <a:pt x="1866" y="4482"/>
                    <a:pt x="1874" y="4466"/>
                  </a:cubicBezTo>
                  <a:cubicBezTo>
                    <a:pt x="1889" y="4444"/>
                    <a:pt x="1896" y="4429"/>
                    <a:pt x="1904" y="4407"/>
                  </a:cubicBezTo>
                  <a:cubicBezTo>
                    <a:pt x="1918" y="4377"/>
                    <a:pt x="1918" y="4362"/>
                    <a:pt x="1926" y="4332"/>
                  </a:cubicBezTo>
                  <a:cubicBezTo>
                    <a:pt x="1926" y="4317"/>
                    <a:pt x="1934" y="4309"/>
                    <a:pt x="1934" y="4294"/>
                  </a:cubicBezTo>
                  <a:cubicBezTo>
                    <a:pt x="1934" y="4219"/>
                    <a:pt x="1934" y="4219"/>
                    <a:pt x="1934" y="4219"/>
                  </a:cubicBezTo>
                  <a:cubicBezTo>
                    <a:pt x="1934" y="4189"/>
                    <a:pt x="1911" y="4174"/>
                    <a:pt x="1896" y="4144"/>
                  </a:cubicBezTo>
                  <a:cubicBezTo>
                    <a:pt x="1874" y="4122"/>
                    <a:pt x="1866" y="4099"/>
                    <a:pt x="1844" y="4069"/>
                  </a:cubicBezTo>
                  <a:cubicBezTo>
                    <a:pt x="1829" y="4062"/>
                    <a:pt x="1821" y="4054"/>
                    <a:pt x="1806" y="4047"/>
                  </a:cubicBezTo>
                  <a:cubicBezTo>
                    <a:pt x="1799" y="4047"/>
                    <a:pt x="1784" y="4047"/>
                    <a:pt x="1784" y="4039"/>
                  </a:cubicBezTo>
                  <a:cubicBezTo>
                    <a:pt x="1776" y="4032"/>
                    <a:pt x="1784" y="4017"/>
                    <a:pt x="1784" y="4009"/>
                  </a:cubicBezTo>
                  <a:cubicBezTo>
                    <a:pt x="1776" y="3995"/>
                    <a:pt x="1761" y="3987"/>
                    <a:pt x="1761" y="3965"/>
                  </a:cubicBezTo>
                  <a:cubicBezTo>
                    <a:pt x="1761" y="3957"/>
                    <a:pt x="1769" y="3949"/>
                    <a:pt x="1769" y="3935"/>
                  </a:cubicBezTo>
                  <a:cubicBezTo>
                    <a:pt x="1776" y="3912"/>
                    <a:pt x="1784" y="3897"/>
                    <a:pt x="1791" y="3875"/>
                  </a:cubicBezTo>
                  <a:cubicBezTo>
                    <a:pt x="1806" y="3845"/>
                    <a:pt x="1814" y="3830"/>
                    <a:pt x="1814" y="3800"/>
                  </a:cubicBezTo>
                  <a:cubicBezTo>
                    <a:pt x="1814" y="3770"/>
                    <a:pt x="1814" y="3755"/>
                    <a:pt x="1806" y="3725"/>
                  </a:cubicBezTo>
                  <a:cubicBezTo>
                    <a:pt x="1806" y="3710"/>
                    <a:pt x="1799" y="3710"/>
                    <a:pt x="1791" y="3702"/>
                  </a:cubicBezTo>
                  <a:cubicBezTo>
                    <a:pt x="1791" y="3695"/>
                    <a:pt x="1784" y="3695"/>
                    <a:pt x="1784" y="3687"/>
                  </a:cubicBezTo>
                  <a:cubicBezTo>
                    <a:pt x="1784" y="3657"/>
                    <a:pt x="1806" y="3650"/>
                    <a:pt x="1806" y="3620"/>
                  </a:cubicBezTo>
                  <a:cubicBezTo>
                    <a:pt x="1806" y="3605"/>
                    <a:pt x="1806" y="3597"/>
                    <a:pt x="1791" y="3582"/>
                  </a:cubicBezTo>
                  <a:cubicBezTo>
                    <a:pt x="1791" y="3582"/>
                    <a:pt x="1784" y="3590"/>
                    <a:pt x="1784" y="3582"/>
                  </a:cubicBezTo>
                  <a:cubicBezTo>
                    <a:pt x="1769" y="3582"/>
                    <a:pt x="1769" y="3575"/>
                    <a:pt x="1761" y="3567"/>
                  </a:cubicBezTo>
                  <a:cubicBezTo>
                    <a:pt x="1769" y="3552"/>
                    <a:pt x="1769" y="3552"/>
                    <a:pt x="1769" y="3552"/>
                  </a:cubicBezTo>
                  <a:cubicBezTo>
                    <a:pt x="1799" y="3545"/>
                    <a:pt x="1821" y="3537"/>
                    <a:pt x="1836" y="3507"/>
                  </a:cubicBezTo>
                  <a:cubicBezTo>
                    <a:pt x="1844" y="3507"/>
                    <a:pt x="1859" y="3515"/>
                    <a:pt x="1866" y="3515"/>
                  </a:cubicBezTo>
                  <a:cubicBezTo>
                    <a:pt x="1874" y="3522"/>
                    <a:pt x="1866" y="3530"/>
                    <a:pt x="1874" y="3530"/>
                  </a:cubicBezTo>
                  <a:cubicBezTo>
                    <a:pt x="1881" y="3537"/>
                    <a:pt x="1889" y="3545"/>
                    <a:pt x="1896" y="3552"/>
                  </a:cubicBezTo>
                  <a:cubicBezTo>
                    <a:pt x="1934" y="3507"/>
                    <a:pt x="1964" y="3492"/>
                    <a:pt x="1994" y="3432"/>
                  </a:cubicBezTo>
                  <a:cubicBezTo>
                    <a:pt x="1994" y="3417"/>
                    <a:pt x="2001" y="3410"/>
                    <a:pt x="2016" y="3395"/>
                  </a:cubicBezTo>
                  <a:cubicBezTo>
                    <a:pt x="2024" y="3395"/>
                    <a:pt x="2031" y="3395"/>
                    <a:pt x="2038" y="3387"/>
                  </a:cubicBezTo>
                  <a:cubicBezTo>
                    <a:pt x="2046" y="3380"/>
                    <a:pt x="2038" y="3373"/>
                    <a:pt x="2046" y="3365"/>
                  </a:cubicBezTo>
                  <a:cubicBezTo>
                    <a:pt x="2046" y="3350"/>
                    <a:pt x="2054" y="3335"/>
                    <a:pt x="2068" y="3327"/>
                  </a:cubicBezTo>
                  <a:cubicBezTo>
                    <a:pt x="2068" y="3320"/>
                    <a:pt x="2076" y="3327"/>
                    <a:pt x="2076" y="3327"/>
                  </a:cubicBezTo>
                  <a:cubicBezTo>
                    <a:pt x="2098" y="3305"/>
                    <a:pt x="2083" y="3283"/>
                    <a:pt x="2091" y="3253"/>
                  </a:cubicBezTo>
                  <a:cubicBezTo>
                    <a:pt x="2098" y="3230"/>
                    <a:pt x="2113" y="3230"/>
                    <a:pt x="2121" y="3215"/>
                  </a:cubicBezTo>
                  <a:cubicBezTo>
                    <a:pt x="2151" y="3185"/>
                    <a:pt x="2158" y="3163"/>
                    <a:pt x="2173" y="3125"/>
                  </a:cubicBezTo>
                  <a:cubicBezTo>
                    <a:pt x="2181" y="3118"/>
                    <a:pt x="2181" y="3110"/>
                    <a:pt x="2181" y="3103"/>
                  </a:cubicBezTo>
                  <a:cubicBezTo>
                    <a:pt x="2188" y="3088"/>
                    <a:pt x="2203" y="3088"/>
                    <a:pt x="2203" y="3073"/>
                  </a:cubicBezTo>
                  <a:cubicBezTo>
                    <a:pt x="2203" y="3065"/>
                    <a:pt x="2188" y="3058"/>
                    <a:pt x="2181" y="3050"/>
                  </a:cubicBezTo>
                  <a:cubicBezTo>
                    <a:pt x="2181" y="3035"/>
                    <a:pt x="2181" y="3028"/>
                    <a:pt x="2181" y="3013"/>
                  </a:cubicBezTo>
                  <a:cubicBezTo>
                    <a:pt x="2181" y="2990"/>
                    <a:pt x="2203" y="2975"/>
                    <a:pt x="2218" y="2953"/>
                  </a:cubicBezTo>
                  <a:lnTo>
                    <a:pt x="2218" y="2945"/>
                  </a:lnTo>
                  <a:cubicBezTo>
                    <a:pt x="2241" y="2915"/>
                    <a:pt x="2256" y="2900"/>
                    <a:pt x="2271" y="2870"/>
                  </a:cubicBezTo>
                  <a:cubicBezTo>
                    <a:pt x="2271" y="2863"/>
                    <a:pt x="2278" y="2855"/>
                    <a:pt x="2278" y="2848"/>
                  </a:cubicBezTo>
                  <a:cubicBezTo>
                    <a:pt x="2278" y="2840"/>
                    <a:pt x="2271" y="2840"/>
                    <a:pt x="2271" y="2833"/>
                  </a:cubicBezTo>
                  <a:cubicBezTo>
                    <a:pt x="2248" y="2840"/>
                    <a:pt x="2241" y="2848"/>
                    <a:pt x="2218" y="2855"/>
                  </a:cubicBezTo>
                  <a:cubicBezTo>
                    <a:pt x="2196" y="2863"/>
                    <a:pt x="2173" y="2855"/>
                    <a:pt x="2143" y="2870"/>
                  </a:cubicBezTo>
                  <a:cubicBezTo>
                    <a:pt x="2128" y="2885"/>
                    <a:pt x="2128" y="2893"/>
                    <a:pt x="2113" y="2908"/>
                  </a:cubicBezTo>
                  <a:cubicBezTo>
                    <a:pt x="2098" y="2930"/>
                    <a:pt x="2091" y="2945"/>
                    <a:pt x="2076" y="2975"/>
                  </a:cubicBezTo>
                  <a:cubicBezTo>
                    <a:pt x="2054" y="2968"/>
                    <a:pt x="2031" y="2960"/>
                    <a:pt x="2031" y="2938"/>
                  </a:cubicBezTo>
                  <a:cubicBezTo>
                    <a:pt x="2031" y="2923"/>
                    <a:pt x="2031" y="2915"/>
                    <a:pt x="2031" y="2900"/>
                  </a:cubicBezTo>
                  <a:cubicBezTo>
                    <a:pt x="2031" y="2885"/>
                    <a:pt x="2031" y="2885"/>
                    <a:pt x="2031" y="2885"/>
                  </a:cubicBezTo>
                  <a:cubicBezTo>
                    <a:pt x="2031" y="2900"/>
                    <a:pt x="2031" y="2900"/>
                    <a:pt x="2031" y="2900"/>
                  </a:cubicBezTo>
                  <a:cubicBezTo>
                    <a:pt x="2038" y="2885"/>
                    <a:pt x="2046" y="2870"/>
                    <a:pt x="2054" y="2863"/>
                  </a:cubicBezTo>
                  <a:cubicBezTo>
                    <a:pt x="2076" y="2848"/>
                    <a:pt x="2091" y="2840"/>
                    <a:pt x="2106" y="2826"/>
                  </a:cubicBezTo>
                  <a:cubicBezTo>
                    <a:pt x="2113" y="2810"/>
                    <a:pt x="2121" y="2803"/>
                    <a:pt x="2136" y="2796"/>
                  </a:cubicBezTo>
                  <a:cubicBezTo>
                    <a:pt x="2158" y="2780"/>
                    <a:pt x="2173" y="2766"/>
                    <a:pt x="2203" y="2750"/>
                  </a:cubicBezTo>
                  <a:cubicBezTo>
                    <a:pt x="2226" y="2736"/>
                    <a:pt x="2256" y="2728"/>
                    <a:pt x="2256" y="2706"/>
                  </a:cubicBezTo>
                  <a:cubicBezTo>
                    <a:pt x="2256" y="2683"/>
                    <a:pt x="2241" y="2676"/>
                    <a:pt x="2241" y="2661"/>
                  </a:cubicBezTo>
                  <a:cubicBezTo>
                    <a:pt x="2241" y="2646"/>
                    <a:pt x="2248" y="2638"/>
                    <a:pt x="2248" y="2631"/>
                  </a:cubicBezTo>
                  <a:cubicBezTo>
                    <a:pt x="2248" y="2608"/>
                    <a:pt x="2233" y="2601"/>
                    <a:pt x="2226" y="2586"/>
                  </a:cubicBezTo>
                  <a:cubicBezTo>
                    <a:pt x="2211" y="2556"/>
                    <a:pt x="2196" y="2541"/>
                    <a:pt x="2166" y="2533"/>
                  </a:cubicBezTo>
                  <a:cubicBezTo>
                    <a:pt x="2166" y="2518"/>
                    <a:pt x="2173" y="2518"/>
                    <a:pt x="2173" y="2503"/>
                  </a:cubicBezTo>
                  <a:cubicBezTo>
                    <a:pt x="2173" y="2496"/>
                    <a:pt x="2158" y="2496"/>
                    <a:pt x="2151" y="2488"/>
                  </a:cubicBezTo>
                  <a:cubicBezTo>
                    <a:pt x="2143" y="2488"/>
                    <a:pt x="2136" y="2481"/>
                    <a:pt x="2121" y="2481"/>
                  </a:cubicBezTo>
                  <a:cubicBezTo>
                    <a:pt x="2106" y="2473"/>
                    <a:pt x="2091" y="2458"/>
                    <a:pt x="2083" y="2443"/>
                  </a:cubicBezTo>
                  <a:cubicBezTo>
                    <a:pt x="2076" y="2421"/>
                    <a:pt x="2068" y="2413"/>
                    <a:pt x="2054" y="2391"/>
                  </a:cubicBezTo>
                  <a:cubicBezTo>
                    <a:pt x="2046" y="2383"/>
                    <a:pt x="2046" y="2376"/>
                    <a:pt x="2038" y="2368"/>
                  </a:cubicBezTo>
                  <a:cubicBezTo>
                    <a:pt x="2031" y="2361"/>
                    <a:pt x="2016" y="2353"/>
                    <a:pt x="2016" y="2346"/>
                  </a:cubicBezTo>
                  <a:cubicBezTo>
                    <a:pt x="2016" y="2316"/>
                    <a:pt x="2046" y="2308"/>
                    <a:pt x="2046" y="2286"/>
                  </a:cubicBezTo>
                  <a:cubicBezTo>
                    <a:pt x="2046" y="2256"/>
                    <a:pt x="2031" y="2241"/>
                    <a:pt x="2024" y="2218"/>
                  </a:cubicBezTo>
                  <a:cubicBezTo>
                    <a:pt x="2016" y="2218"/>
                    <a:pt x="2024" y="2211"/>
                    <a:pt x="2024" y="2211"/>
                  </a:cubicBezTo>
                  <a:cubicBezTo>
                    <a:pt x="2016" y="2181"/>
                    <a:pt x="1994" y="2173"/>
                    <a:pt x="1964" y="2166"/>
                  </a:cubicBezTo>
                  <a:cubicBezTo>
                    <a:pt x="1934" y="2158"/>
                    <a:pt x="1904" y="2166"/>
                    <a:pt x="1881" y="2136"/>
                  </a:cubicBezTo>
                  <a:cubicBezTo>
                    <a:pt x="1866" y="2121"/>
                    <a:pt x="1866" y="2098"/>
                    <a:pt x="1859" y="2076"/>
                  </a:cubicBezTo>
                  <a:cubicBezTo>
                    <a:pt x="1836" y="2091"/>
                    <a:pt x="1829" y="2106"/>
                    <a:pt x="1806" y="2128"/>
                  </a:cubicBezTo>
                  <a:cubicBezTo>
                    <a:pt x="1791" y="2144"/>
                    <a:pt x="1784" y="2151"/>
                    <a:pt x="1769" y="2166"/>
                  </a:cubicBezTo>
                  <a:cubicBezTo>
                    <a:pt x="1754" y="2173"/>
                    <a:pt x="1739" y="2173"/>
                    <a:pt x="1739" y="2188"/>
                  </a:cubicBezTo>
                  <a:cubicBezTo>
                    <a:pt x="1739" y="2203"/>
                    <a:pt x="1746" y="2211"/>
                    <a:pt x="1746" y="2218"/>
                  </a:cubicBezTo>
                  <a:cubicBezTo>
                    <a:pt x="1761" y="2248"/>
                    <a:pt x="1754" y="2263"/>
                    <a:pt x="1769" y="2293"/>
                  </a:cubicBezTo>
                  <a:cubicBezTo>
                    <a:pt x="1776" y="2316"/>
                    <a:pt x="1784" y="2331"/>
                    <a:pt x="1799" y="2353"/>
                  </a:cubicBezTo>
                  <a:cubicBezTo>
                    <a:pt x="1799" y="2368"/>
                    <a:pt x="1814" y="2368"/>
                    <a:pt x="1814" y="2383"/>
                  </a:cubicBezTo>
                  <a:cubicBezTo>
                    <a:pt x="1814" y="2413"/>
                    <a:pt x="1799" y="2428"/>
                    <a:pt x="1784" y="2443"/>
                  </a:cubicBezTo>
                  <a:cubicBezTo>
                    <a:pt x="1784" y="2451"/>
                    <a:pt x="1784" y="2458"/>
                    <a:pt x="1776" y="2458"/>
                  </a:cubicBezTo>
                  <a:cubicBezTo>
                    <a:pt x="1746" y="2473"/>
                    <a:pt x="1724" y="2481"/>
                    <a:pt x="1701" y="2496"/>
                  </a:cubicBezTo>
                  <a:cubicBezTo>
                    <a:pt x="1694" y="2503"/>
                    <a:pt x="1701" y="2511"/>
                    <a:pt x="1701" y="2511"/>
                  </a:cubicBezTo>
                  <a:cubicBezTo>
                    <a:pt x="1709" y="2518"/>
                    <a:pt x="1724" y="2518"/>
                    <a:pt x="1739" y="2518"/>
                  </a:cubicBezTo>
                  <a:cubicBezTo>
                    <a:pt x="1761" y="2526"/>
                    <a:pt x="1776" y="2541"/>
                    <a:pt x="1799" y="2541"/>
                  </a:cubicBezTo>
                  <a:cubicBezTo>
                    <a:pt x="1851" y="2541"/>
                    <a:pt x="1866" y="2503"/>
                    <a:pt x="1918" y="2503"/>
                  </a:cubicBezTo>
                  <a:cubicBezTo>
                    <a:pt x="1934" y="2503"/>
                    <a:pt x="1941" y="2518"/>
                    <a:pt x="1948" y="2526"/>
                  </a:cubicBezTo>
                  <a:cubicBezTo>
                    <a:pt x="1956" y="2541"/>
                    <a:pt x="1964" y="2548"/>
                    <a:pt x="1971" y="2563"/>
                  </a:cubicBezTo>
                  <a:cubicBezTo>
                    <a:pt x="1994" y="2593"/>
                    <a:pt x="2001" y="2616"/>
                    <a:pt x="2001" y="2646"/>
                  </a:cubicBezTo>
                  <a:cubicBezTo>
                    <a:pt x="2001" y="2683"/>
                    <a:pt x="1986" y="2698"/>
                    <a:pt x="1986" y="2728"/>
                  </a:cubicBezTo>
                  <a:cubicBezTo>
                    <a:pt x="1986" y="2743"/>
                    <a:pt x="1994" y="2750"/>
                    <a:pt x="1994" y="2766"/>
                  </a:cubicBezTo>
                  <a:cubicBezTo>
                    <a:pt x="1994" y="2788"/>
                    <a:pt x="1978" y="2796"/>
                    <a:pt x="1964" y="2796"/>
                  </a:cubicBezTo>
                  <a:cubicBezTo>
                    <a:pt x="1941" y="2803"/>
                    <a:pt x="1918" y="2796"/>
                    <a:pt x="1896" y="2803"/>
                  </a:cubicBezTo>
                  <a:cubicBezTo>
                    <a:pt x="1866" y="2810"/>
                    <a:pt x="1851" y="2826"/>
                    <a:pt x="1836" y="2848"/>
                  </a:cubicBezTo>
                  <a:cubicBezTo>
                    <a:pt x="1829" y="2863"/>
                    <a:pt x="1821" y="2878"/>
                    <a:pt x="1806" y="2878"/>
                  </a:cubicBezTo>
                  <a:cubicBezTo>
                    <a:pt x="1791" y="2878"/>
                    <a:pt x="1791" y="2863"/>
                    <a:pt x="1784" y="2855"/>
                  </a:cubicBezTo>
                  <a:cubicBezTo>
                    <a:pt x="1769" y="2848"/>
                    <a:pt x="1754" y="2848"/>
                    <a:pt x="1746" y="2840"/>
                  </a:cubicBezTo>
                  <a:cubicBezTo>
                    <a:pt x="1731" y="2833"/>
                    <a:pt x="1731" y="2810"/>
                    <a:pt x="1716" y="2803"/>
                  </a:cubicBezTo>
                  <a:cubicBezTo>
                    <a:pt x="1716" y="2796"/>
                    <a:pt x="1709" y="2796"/>
                    <a:pt x="1701" y="2796"/>
                  </a:cubicBezTo>
                  <a:cubicBezTo>
                    <a:pt x="1716" y="2788"/>
                    <a:pt x="1724" y="2780"/>
                    <a:pt x="1739" y="2773"/>
                  </a:cubicBezTo>
                  <a:cubicBezTo>
                    <a:pt x="1746" y="2766"/>
                    <a:pt x="1746" y="2758"/>
                    <a:pt x="1761" y="2743"/>
                  </a:cubicBezTo>
                  <a:cubicBezTo>
                    <a:pt x="1776" y="2736"/>
                    <a:pt x="1784" y="2720"/>
                    <a:pt x="1784" y="2698"/>
                  </a:cubicBezTo>
                  <a:cubicBezTo>
                    <a:pt x="1784" y="2690"/>
                    <a:pt x="1784" y="2683"/>
                    <a:pt x="1784" y="2676"/>
                  </a:cubicBezTo>
                  <a:cubicBezTo>
                    <a:pt x="1776" y="2668"/>
                    <a:pt x="1784" y="2661"/>
                    <a:pt x="1784" y="2653"/>
                  </a:cubicBezTo>
                  <a:cubicBezTo>
                    <a:pt x="1776" y="2646"/>
                    <a:pt x="1761" y="2638"/>
                    <a:pt x="1754" y="2638"/>
                  </a:cubicBezTo>
                  <a:cubicBezTo>
                    <a:pt x="1746" y="2631"/>
                    <a:pt x="1739" y="2631"/>
                    <a:pt x="1731" y="2631"/>
                  </a:cubicBezTo>
                  <a:cubicBezTo>
                    <a:pt x="1694" y="2631"/>
                    <a:pt x="1679" y="2638"/>
                    <a:pt x="1641" y="2653"/>
                  </a:cubicBezTo>
                  <a:cubicBezTo>
                    <a:pt x="1589" y="2661"/>
                    <a:pt x="1559" y="2676"/>
                    <a:pt x="1514" y="2713"/>
                  </a:cubicBezTo>
                  <a:cubicBezTo>
                    <a:pt x="1477" y="2750"/>
                    <a:pt x="1447" y="2766"/>
                    <a:pt x="1409" y="2818"/>
                  </a:cubicBezTo>
                  <a:cubicBezTo>
                    <a:pt x="1394" y="2833"/>
                    <a:pt x="1387" y="2855"/>
                    <a:pt x="1364" y="2870"/>
                  </a:cubicBezTo>
                  <a:cubicBezTo>
                    <a:pt x="1349" y="2878"/>
                    <a:pt x="1342" y="2893"/>
                    <a:pt x="1334" y="2908"/>
                  </a:cubicBezTo>
                  <a:cubicBezTo>
                    <a:pt x="1327" y="2915"/>
                    <a:pt x="1319" y="2930"/>
                    <a:pt x="1304" y="2930"/>
                  </a:cubicBezTo>
                  <a:lnTo>
                    <a:pt x="1297" y="2923"/>
                  </a:lnTo>
                  <a:cubicBezTo>
                    <a:pt x="1312" y="2893"/>
                    <a:pt x="1319" y="2870"/>
                    <a:pt x="1327" y="2840"/>
                  </a:cubicBezTo>
                  <a:cubicBezTo>
                    <a:pt x="1334" y="2818"/>
                    <a:pt x="1334" y="2803"/>
                    <a:pt x="1342" y="2780"/>
                  </a:cubicBezTo>
                  <a:cubicBezTo>
                    <a:pt x="1364" y="2766"/>
                    <a:pt x="1394" y="2766"/>
                    <a:pt x="1394" y="2743"/>
                  </a:cubicBezTo>
                  <a:cubicBezTo>
                    <a:pt x="1394" y="2720"/>
                    <a:pt x="1379" y="2713"/>
                    <a:pt x="1364" y="2698"/>
                  </a:cubicBezTo>
                  <a:cubicBezTo>
                    <a:pt x="1349" y="2690"/>
                    <a:pt x="1342" y="2676"/>
                    <a:pt x="1334" y="2668"/>
                  </a:cubicBezTo>
                  <a:cubicBezTo>
                    <a:pt x="1297" y="2631"/>
                    <a:pt x="1267" y="2623"/>
                    <a:pt x="1236" y="2586"/>
                  </a:cubicBezTo>
                  <a:cubicBezTo>
                    <a:pt x="1199" y="2548"/>
                    <a:pt x="1192" y="2518"/>
                    <a:pt x="1169" y="2481"/>
                  </a:cubicBezTo>
                  <a:cubicBezTo>
                    <a:pt x="1154" y="2443"/>
                    <a:pt x="1132" y="2428"/>
                    <a:pt x="1132" y="2398"/>
                  </a:cubicBezTo>
                  <a:cubicBezTo>
                    <a:pt x="1132" y="2376"/>
                    <a:pt x="1139" y="2361"/>
                    <a:pt x="1154" y="2338"/>
                  </a:cubicBezTo>
                  <a:cubicBezTo>
                    <a:pt x="1154" y="2323"/>
                    <a:pt x="1154" y="2316"/>
                    <a:pt x="1162" y="2301"/>
                  </a:cubicBezTo>
                  <a:cubicBezTo>
                    <a:pt x="1162" y="2278"/>
                    <a:pt x="1169" y="2263"/>
                    <a:pt x="1169" y="2241"/>
                  </a:cubicBezTo>
                  <a:cubicBezTo>
                    <a:pt x="1169" y="2233"/>
                    <a:pt x="1169" y="2226"/>
                    <a:pt x="1169" y="2218"/>
                  </a:cubicBezTo>
                  <a:cubicBezTo>
                    <a:pt x="1184" y="2218"/>
                    <a:pt x="1192" y="2218"/>
                    <a:pt x="1207" y="2218"/>
                  </a:cubicBezTo>
                  <a:cubicBezTo>
                    <a:pt x="1214" y="2218"/>
                    <a:pt x="1222" y="2211"/>
                    <a:pt x="1229" y="2211"/>
                  </a:cubicBezTo>
                  <a:cubicBezTo>
                    <a:pt x="1236" y="2211"/>
                    <a:pt x="1244" y="2218"/>
                    <a:pt x="1244" y="2226"/>
                  </a:cubicBezTo>
                  <a:cubicBezTo>
                    <a:pt x="1252" y="2233"/>
                    <a:pt x="1252" y="2241"/>
                    <a:pt x="1259" y="2248"/>
                  </a:cubicBezTo>
                  <a:cubicBezTo>
                    <a:pt x="1274" y="2263"/>
                    <a:pt x="1297" y="2256"/>
                    <a:pt x="1304" y="2278"/>
                  </a:cubicBezTo>
                  <a:cubicBezTo>
                    <a:pt x="1304" y="2293"/>
                    <a:pt x="1297" y="2308"/>
                    <a:pt x="1312" y="2316"/>
                  </a:cubicBezTo>
                  <a:cubicBezTo>
                    <a:pt x="1319" y="2323"/>
                    <a:pt x="1327" y="2331"/>
                    <a:pt x="1342" y="2331"/>
                  </a:cubicBezTo>
                  <a:cubicBezTo>
                    <a:pt x="1349" y="2338"/>
                    <a:pt x="1364" y="2338"/>
                    <a:pt x="1364" y="2353"/>
                  </a:cubicBezTo>
                  <a:cubicBezTo>
                    <a:pt x="1364" y="2368"/>
                    <a:pt x="1349" y="2376"/>
                    <a:pt x="1349" y="2391"/>
                  </a:cubicBezTo>
                  <a:cubicBezTo>
                    <a:pt x="1349" y="2398"/>
                    <a:pt x="1357" y="2406"/>
                    <a:pt x="1357" y="2413"/>
                  </a:cubicBezTo>
                  <a:cubicBezTo>
                    <a:pt x="1364" y="2428"/>
                    <a:pt x="1364" y="2443"/>
                    <a:pt x="1364" y="2458"/>
                  </a:cubicBezTo>
                  <a:cubicBezTo>
                    <a:pt x="1364" y="2473"/>
                    <a:pt x="1364" y="2481"/>
                    <a:pt x="1364" y="2496"/>
                  </a:cubicBezTo>
                  <a:cubicBezTo>
                    <a:pt x="1364" y="2503"/>
                    <a:pt x="1371" y="2511"/>
                    <a:pt x="1371" y="2518"/>
                  </a:cubicBezTo>
                  <a:cubicBezTo>
                    <a:pt x="1371" y="2526"/>
                    <a:pt x="1364" y="2533"/>
                    <a:pt x="1371" y="2533"/>
                  </a:cubicBezTo>
                  <a:cubicBezTo>
                    <a:pt x="1379" y="2533"/>
                    <a:pt x="1387" y="2533"/>
                    <a:pt x="1394" y="2526"/>
                  </a:cubicBezTo>
                  <a:cubicBezTo>
                    <a:pt x="1409" y="2518"/>
                    <a:pt x="1417" y="2511"/>
                    <a:pt x="1431" y="2496"/>
                  </a:cubicBezTo>
                  <a:cubicBezTo>
                    <a:pt x="1439" y="2488"/>
                    <a:pt x="1447" y="2488"/>
                    <a:pt x="1454" y="2481"/>
                  </a:cubicBezTo>
                  <a:cubicBezTo>
                    <a:pt x="1454" y="2481"/>
                    <a:pt x="1461" y="2473"/>
                    <a:pt x="1469" y="2473"/>
                  </a:cubicBezTo>
                  <a:cubicBezTo>
                    <a:pt x="1477" y="2473"/>
                    <a:pt x="1477" y="2473"/>
                    <a:pt x="1484" y="2473"/>
                  </a:cubicBezTo>
                  <a:cubicBezTo>
                    <a:pt x="1484" y="2451"/>
                    <a:pt x="1484" y="2451"/>
                    <a:pt x="1484" y="2451"/>
                  </a:cubicBezTo>
                  <a:cubicBezTo>
                    <a:pt x="1484" y="2443"/>
                    <a:pt x="1484" y="2443"/>
                    <a:pt x="1484" y="2436"/>
                  </a:cubicBezTo>
                  <a:cubicBezTo>
                    <a:pt x="1477" y="2421"/>
                    <a:pt x="1477" y="2413"/>
                    <a:pt x="1477" y="2398"/>
                  </a:cubicBezTo>
                  <a:cubicBezTo>
                    <a:pt x="1477" y="2383"/>
                    <a:pt x="1484" y="2368"/>
                    <a:pt x="1484" y="2353"/>
                  </a:cubicBezTo>
                  <a:cubicBezTo>
                    <a:pt x="1484" y="2338"/>
                    <a:pt x="1477" y="2331"/>
                    <a:pt x="1469" y="2316"/>
                  </a:cubicBezTo>
                  <a:cubicBezTo>
                    <a:pt x="1461" y="2308"/>
                    <a:pt x="1469" y="2293"/>
                    <a:pt x="1461" y="2278"/>
                  </a:cubicBezTo>
                  <a:cubicBezTo>
                    <a:pt x="1454" y="2263"/>
                    <a:pt x="1439" y="2271"/>
                    <a:pt x="1424" y="2271"/>
                  </a:cubicBezTo>
                  <a:cubicBezTo>
                    <a:pt x="1409" y="2263"/>
                    <a:pt x="1401" y="2263"/>
                    <a:pt x="1387" y="2263"/>
                  </a:cubicBezTo>
                  <a:cubicBezTo>
                    <a:pt x="1379" y="2263"/>
                    <a:pt x="1371" y="2256"/>
                    <a:pt x="1364" y="2256"/>
                  </a:cubicBezTo>
                  <a:cubicBezTo>
                    <a:pt x="1357" y="2256"/>
                    <a:pt x="1357" y="2256"/>
                    <a:pt x="1349" y="2256"/>
                  </a:cubicBezTo>
                  <a:cubicBezTo>
                    <a:pt x="1334" y="2248"/>
                    <a:pt x="1327" y="2248"/>
                    <a:pt x="1312" y="2248"/>
                  </a:cubicBezTo>
                  <a:cubicBezTo>
                    <a:pt x="1297" y="2248"/>
                    <a:pt x="1289" y="2248"/>
                    <a:pt x="1282" y="2241"/>
                  </a:cubicBezTo>
                  <a:cubicBezTo>
                    <a:pt x="1282" y="2241"/>
                    <a:pt x="1282" y="2233"/>
                    <a:pt x="1282" y="2226"/>
                  </a:cubicBezTo>
                  <a:cubicBezTo>
                    <a:pt x="1282" y="2218"/>
                    <a:pt x="1282" y="2203"/>
                    <a:pt x="1274" y="2196"/>
                  </a:cubicBezTo>
                  <a:cubicBezTo>
                    <a:pt x="1274" y="2196"/>
                    <a:pt x="1267" y="2196"/>
                    <a:pt x="1267" y="2188"/>
                  </a:cubicBezTo>
                  <a:cubicBezTo>
                    <a:pt x="1267" y="2181"/>
                    <a:pt x="1282" y="2173"/>
                    <a:pt x="1282" y="2166"/>
                  </a:cubicBezTo>
                  <a:cubicBezTo>
                    <a:pt x="1282" y="2158"/>
                    <a:pt x="1282" y="2158"/>
                    <a:pt x="1282" y="2151"/>
                  </a:cubicBezTo>
                  <a:cubicBezTo>
                    <a:pt x="1274" y="2151"/>
                    <a:pt x="1267" y="2151"/>
                    <a:pt x="1259" y="2151"/>
                  </a:cubicBezTo>
                  <a:cubicBezTo>
                    <a:pt x="1252" y="2151"/>
                    <a:pt x="1244" y="2158"/>
                    <a:pt x="1236" y="2158"/>
                  </a:cubicBezTo>
                  <a:cubicBezTo>
                    <a:pt x="1222" y="2166"/>
                    <a:pt x="1214" y="2166"/>
                    <a:pt x="1192" y="2173"/>
                  </a:cubicBezTo>
                  <a:cubicBezTo>
                    <a:pt x="1184" y="2181"/>
                    <a:pt x="1184" y="2188"/>
                    <a:pt x="1177" y="2188"/>
                  </a:cubicBezTo>
                  <a:cubicBezTo>
                    <a:pt x="1169" y="2188"/>
                    <a:pt x="1169" y="2181"/>
                    <a:pt x="1162" y="2181"/>
                  </a:cubicBezTo>
                  <a:close/>
                  <a:moveTo>
                    <a:pt x="1027" y="1904"/>
                  </a:moveTo>
                  <a:lnTo>
                    <a:pt x="1027" y="1904"/>
                  </a:lnTo>
                  <a:cubicBezTo>
                    <a:pt x="1034" y="1904"/>
                    <a:pt x="1034" y="1896"/>
                    <a:pt x="1034" y="1889"/>
                  </a:cubicBezTo>
                  <a:cubicBezTo>
                    <a:pt x="1049" y="1874"/>
                    <a:pt x="1057" y="1859"/>
                    <a:pt x="1064" y="1836"/>
                  </a:cubicBezTo>
                  <a:cubicBezTo>
                    <a:pt x="1064" y="1821"/>
                    <a:pt x="1064" y="1821"/>
                    <a:pt x="1064" y="1806"/>
                  </a:cubicBezTo>
                  <a:cubicBezTo>
                    <a:pt x="1064" y="1799"/>
                    <a:pt x="1072" y="1791"/>
                    <a:pt x="1064" y="1784"/>
                  </a:cubicBezTo>
                  <a:cubicBezTo>
                    <a:pt x="1057" y="1776"/>
                    <a:pt x="1057" y="1776"/>
                    <a:pt x="1049" y="1776"/>
                  </a:cubicBezTo>
                  <a:cubicBezTo>
                    <a:pt x="1042" y="1769"/>
                    <a:pt x="1042" y="1761"/>
                    <a:pt x="1034" y="1761"/>
                  </a:cubicBezTo>
                  <a:cubicBezTo>
                    <a:pt x="1027" y="1754"/>
                    <a:pt x="1019" y="1754"/>
                    <a:pt x="1019" y="1746"/>
                  </a:cubicBezTo>
                  <a:cubicBezTo>
                    <a:pt x="1019" y="1761"/>
                    <a:pt x="1019" y="1769"/>
                    <a:pt x="1019" y="1784"/>
                  </a:cubicBezTo>
                  <a:cubicBezTo>
                    <a:pt x="1012" y="1791"/>
                    <a:pt x="1012" y="1799"/>
                    <a:pt x="1012" y="1814"/>
                  </a:cubicBezTo>
                  <a:cubicBezTo>
                    <a:pt x="1004" y="1829"/>
                    <a:pt x="1004" y="1844"/>
                    <a:pt x="989" y="1851"/>
                  </a:cubicBezTo>
                  <a:cubicBezTo>
                    <a:pt x="982" y="1859"/>
                    <a:pt x="982" y="1859"/>
                    <a:pt x="974" y="1859"/>
                  </a:cubicBezTo>
                  <a:cubicBezTo>
                    <a:pt x="967" y="1859"/>
                    <a:pt x="967" y="1851"/>
                    <a:pt x="959" y="1844"/>
                  </a:cubicBezTo>
                  <a:cubicBezTo>
                    <a:pt x="959" y="1836"/>
                    <a:pt x="952" y="1829"/>
                    <a:pt x="944" y="1821"/>
                  </a:cubicBezTo>
                  <a:cubicBezTo>
                    <a:pt x="944" y="1814"/>
                    <a:pt x="937" y="1814"/>
                    <a:pt x="937" y="1806"/>
                  </a:cubicBezTo>
                  <a:cubicBezTo>
                    <a:pt x="929" y="1799"/>
                    <a:pt x="922" y="1791"/>
                    <a:pt x="922" y="1776"/>
                  </a:cubicBezTo>
                  <a:cubicBezTo>
                    <a:pt x="914" y="1791"/>
                    <a:pt x="914" y="1799"/>
                    <a:pt x="907" y="1814"/>
                  </a:cubicBezTo>
                  <a:cubicBezTo>
                    <a:pt x="899" y="1829"/>
                    <a:pt x="892" y="1829"/>
                    <a:pt x="892" y="1844"/>
                  </a:cubicBezTo>
                  <a:cubicBezTo>
                    <a:pt x="907" y="1851"/>
                    <a:pt x="914" y="1859"/>
                    <a:pt x="922" y="1866"/>
                  </a:cubicBezTo>
                  <a:cubicBezTo>
                    <a:pt x="922" y="1874"/>
                    <a:pt x="929" y="1881"/>
                    <a:pt x="929" y="1889"/>
                  </a:cubicBezTo>
                  <a:cubicBezTo>
                    <a:pt x="929" y="1896"/>
                    <a:pt x="922" y="1896"/>
                    <a:pt x="922" y="1904"/>
                  </a:cubicBezTo>
                  <a:cubicBezTo>
                    <a:pt x="914" y="1919"/>
                    <a:pt x="914" y="1926"/>
                    <a:pt x="907" y="1941"/>
                  </a:cubicBezTo>
                  <a:cubicBezTo>
                    <a:pt x="899" y="1956"/>
                    <a:pt x="892" y="1971"/>
                    <a:pt x="884" y="1986"/>
                  </a:cubicBezTo>
                  <a:cubicBezTo>
                    <a:pt x="877" y="1994"/>
                    <a:pt x="877" y="2001"/>
                    <a:pt x="869" y="2008"/>
                  </a:cubicBezTo>
                  <a:cubicBezTo>
                    <a:pt x="869" y="2016"/>
                    <a:pt x="869" y="2016"/>
                    <a:pt x="869" y="2024"/>
                  </a:cubicBezTo>
                  <a:cubicBezTo>
                    <a:pt x="862" y="2024"/>
                    <a:pt x="862" y="2024"/>
                    <a:pt x="854" y="2031"/>
                  </a:cubicBezTo>
                  <a:cubicBezTo>
                    <a:pt x="847" y="2031"/>
                    <a:pt x="839" y="2038"/>
                    <a:pt x="839" y="2046"/>
                  </a:cubicBezTo>
                  <a:cubicBezTo>
                    <a:pt x="832" y="2061"/>
                    <a:pt x="824" y="2061"/>
                    <a:pt x="824" y="2076"/>
                  </a:cubicBezTo>
                  <a:cubicBezTo>
                    <a:pt x="832" y="2076"/>
                    <a:pt x="847" y="2076"/>
                    <a:pt x="854" y="2076"/>
                  </a:cubicBezTo>
                  <a:cubicBezTo>
                    <a:pt x="862" y="2084"/>
                    <a:pt x="862" y="2084"/>
                    <a:pt x="862" y="2091"/>
                  </a:cubicBezTo>
                  <a:cubicBezTo>
                    <a:pt x="869" y="2098"/>
                    <a:pt x="877" y="2098"/>
                    <a:pt x="884" y="2098"/>
                  </a:cubicBezTo>
                  <a:cubicBezTo>
                    <a:pt x="892" y="2098"/>
                    <a:pt x="899" y="2091"/>
                    <a:pt x="907" y="2091"/>
                  </a:cubicBezTo>
                  <a:cubicBezTo>
                    <a:pt x="907" y="2091"/>
                    <a:pt x="914" y="2091"/>
                    <a:pt x="922" y="2091"/>
                  </a:cubicBezTo>
                  <a:cubicBezTo>
                    <a:pt x="929" y="2084"/>
                    <a:pt x="929" y="2068"/>
                    <a:pt x="937" y="2061"/>
                  </a:cubicBezTo>
                  <a:cubicBezTo>
                    <a:pt x="944" y="2038"/>
                    <a:pt x="959" y="2031"/>
                    <a:pt x="967" y="2016"/>
                  </a:cubicBezTo>
                  <a:cubicBezTo>
                    <a:pt x="974" y="2001"/>
                    <a:pt x="982" y="1994"/>
                    <a:pt x="989" y="1979"/>
                  </a:cubicBezTo>
                  <a:cubicBezTo>
                    <a:pt x="997" y="1971"/>
                    <a:pt x="997" y="1964"/>
                    <a:pt x="1004" y="1949"/>
                  </a:cubicBezTo>
                  <a:cubicBezTo>
                    <a:pt x="1012" y="1934"/>
                    <a:pt x="1019" y="1926"/>
                    <a:pt x="1027" y="1904"/>
                  </a:cubicBezTo>
                  <a:close/>
                  <a:moveTo>
                    <a:pt x="577" y="1941"/>
                  </a:moveTo>
                  <a:lnTo>
                    <a:pt x="577" y="1941"/>
                  </a:lnTo>
                  <a:cubicBezTo>
                    <a:pt x="570" y="1941"/>
                    <a:pt x="570" y="1941"/>
                    <a:pt x="562" y="1941"/>
                  </a:cubicBezTo>
                  <a:cubicBezTo>
                    <a:pt x="547" y="1949"/>
                    <a:pt x="547" y="1956"/>
                    <a:pt x="540" y="1956"/>
                  </a:cubicBezTo>
                  <a:cubicBezTo>
                    <a:pt x="525" y="1956"/>
                    <a:pt x="517" y="1964"/>
                    <a:pt x="510" y="1971"/>
                  </a:cubicBezTo>
                  <a:cubicBezTo>
                    <a:pt x="517" y="1979"/>
                    <a:pt x="525" y="1979"/>
                    <a:pt x="540" y="1986"/>
                  </a:cubicBezTo>
                  <a:cubicBezTo>
                    <a:pt x="547" y="1994"/>
                    <a:pt x="547" y="1994"/>
                    <a:pt x="555" y="1994"/>
                  </a:cubicBezTo>
                  <a:cubicBezTo>
                    <a:pt x="570" y="1994"/>
                    <a:pt x="577" y="1994"/>
                    <a:pt x="592" y="1979"/>
                  </a:cubicBezTo>
                  <a:lnTo>
                    <a:pt x="592" y="1979"/>
                  </a:lnTo>
                  <a:cubicBezTo>
                    <a:pt x="592" y="1964"/>
                    <a:pt x="585" y="1956"/>
                    <a:pt x="577" y="1941"/>
                  </a:cubicBezTo>
                  <a:close/>
                  <a:moveTo>
                    <a:pt x="397" y="2443"/>
                  </a:moveTo>
                  <a:lnTo>
                    <a:pt x="397" y="2443"/>
                  </a:lnTo>
                  <a:cubicBezTo>
                    <a:pt x="390" y="2443"/>
                    <a:pt x="390" y="2458"/>
                    <a:pt x="390" y="2466"/>
                  </a:cubicBezTo>
                  <a:cubicBezTo>
                    <a:pt x="390" y="2496"/>
                    <a:pt x="390" y="2496"/>
                    <a:pt x="390" y="2496"/>
                  </a:cubicBezTo>
                  <a:cubicBezTo>
                    <a:pt x="390" y="2503"/>
                    <a:pt x="382" y="2503"/>
                    <a:pt x="382" y="2511"/>
                  </a:cubicBezTo>
                  <a:cubicBezTo>
                    <a:pt x="390" y="2511"/>
                    <a:pt x="390" y="2511"/>
                    <a:pt x="397" y="2511"/>
                  </a:cubicBezTo>
                  <a:cubicBezTo>
                    <a:pt x="397" y="2511"/>
                    <a:pt x="405" y="2511"/>
                    <a:pt x="412" y="2511"/>
                  </a:cubicBezTo>
                  <a:cubicBezTo>
                    <a:pt x="420" y="2511"/>
                    <a:pt x="420" y="2518"/>
                    <a:pt x="427" y="2526"/>
                  </a:cubicBezTo>
                  <a:cubicBezTo>
                    <a:pt x="442" y="2518"/>
                    <a:pt x="442" y="2503"/>
                    <a:pt x="442" y="2488"/>
                  </a:cubicBezTo>
                  <a:cubicBezTo>
                    <a:pt x="442" y="2481"/>
                    <a:pt x="442" y="2481"/>
                    <a:pt x="442" y="2473"/>
                  </a:cubicBezTo>
                  <a:cubicBezTo>
                    <a:pt x="442" y="2466"/>
                    <a:pt x="442" y="2466"/>
                    <a:pt x="435" y="2466"/>
                  </a:cubicBezTo>
                  <a:cubicBezTo>
                    <a:pt x="427" y="2458"/>
                    <a:pt x="420" y="2458"/>
                    <a:pt x="412" y="2458"/>
                  </a:cubicBezTo>
                  <a:cubicBezTo>
                    <a:pt x="405" y="2451"/>
                    <a:pt x="405" y="2443"/>
                    <a:pt x="397" y="2443"/>
                  </a:cubicBezTo>
                  <a:close/>
                  <a:moveTo>
                    <a:pt x="555" y="2211"/>
                  </a:moveTo>
                  <a:lnTo>
                    <a:pt x="555" y="2211"/>
                  </a:lnTo>
                  <a:cubicBezTo>
                    <a:pt x="555" y="2218"/>
                    <a:pt x="562" y="2218"/>
                    <a:pt x="562" y="2218"/>
                  </a:cubicBezTo>
                  <a:cubicBezTo>
                    <a:pt x="562" y="2226"/>
                    <a:pt x="555" y="2233"/>
                    <a:pt x="555" y="2233"/>
                  </a:cubicBezTo>
                  <a:cubicBezTo>
                    <a:pt x="555" y="2256"/>
                    <a:pt x="555" y="2263"/>
                    <a:pt x="547" y="2286"/>
                  </a:cubicBezTo>
                  <a:cubicBezTo>
                    <a:pt x="547" y="2301"/>
                    <a:pt x="540" y="2308"/>
                    <a:pt x="540" y="2316"/>
                  </a:cubicBezTo>
                  <a:cubicBezTo>
                    <a:pt x="540" y="2331"/>
                    <a:pt x="525" y="2338"/>
                    <a:pt x="525" y="2353"/>
                  </a:cubicBezTo>
                  <a:cubicBezTo>
                    <a:pt x="525" y="2361"/>
                    <a:pt x="525" y="2361"/>
                    <a:pt x="525" y="2361"/>
                  </a:cubicBezTo>
                  <a:cubicBezTo>
                    <a:pt x="532" y="2368"/>
                    <a:pt x="540" y="2368"/>
                    <a:pt x="540" y="2368"/>
                  </a:cubicBezTo>
                  <a:cubicBezTo>
                    <a:pt x="562" y="2368"/>
                    <a:pt x="570" y="2361"/>
                    <a:pt x="592" y="2353"/>
                  </a:cubicBezTo>
                  <a:cubicBezTo>
                    <a:pt x="592" y="2353"/>
                    <a:pt x="600" y="2346"/>
                    <a:pt x="607" y="2346"/>
                  </a:cubicBezTo>
                  <a:cubicBezTo>
                    <a:pt x="615" y="2346"/>
                    <a:pt x="615" y="2346"/>
                    <a:pt x="615" y="2346"/>
                  </a:cubicBezTo>
                  <a:cubicBezTo>
                    <a:pt x="615" y="2353"/>
                    <a:pt x="615" y="2361"/>
                    <a:pt x="615" y="2361"/>
                  </a:cubicBezTo>
                  <a:cubicBezTo>
                    <a:pt x="615" y="2376"/>
                    <a:pt x="615" y="2391"/>
                    <a:pt x="600" y="2398"/>
                  </a:cubicBezTo>
                  <a:cubicBezTo>
                    <a:pt x="592" y="2406"/>
                    <a:pt x="592" y="2413"/>
                    <a:pt x="585" y="2413"/>
                  </a:cubicBezTo>
                  <a:cubicBezTo>
                    <a:pt x="570" y="2421"/>
                    <a:pt x="570" y="2421"/>
                    <a:pt x="555" y="2428"/>
                  </a:cubicBezTo>
                  <a:cubicBezTo>
                    <a:pt x="547" y="2436"/>
                    <a:pt x="540" y="2436"/>
                    <a:pt x="540" y="2443"/>
                  </a:cubicBezTo>
                  <a:cubicBezTo>
                    <a:pt x="532" y="2443"/>
                    <a:pt x="532" y="2451"/>
                    <a:pt x="532" y="2458"/>
                  </a:cubicBezTo>
                  <a:cubicBezTo>
                    <a:pt x="525" y="2473"/>
                    <a:pt x="517" y="2481"/>
                    <a:pt x="517" y="2496"/>
                  </a:cubicBezTo>
                  <a:cubicBezTo>
                    <a:pt x="517" y="2511"/>
                    <a:pt x="517" y="2518"/>
                    <a:pt x="517" y="2526"/>
                  </a:cubicBezTo>
                  <a:cubicBezTo>
                    <a:pt x="510" y="2533"/>
                    <a:pt x="502" y="2533"/>
                    <a:pt x="495" y="2533"/>
                  </a:cubicBezTo>
                  <a:cubicBezTo>
                    <a:pt x="487" y="2533"/>
                    <a:pt x="480" y="2533"/>
                    <a:pt x="480" y="2533"/>
                  </a:cubicBezTo>
                  <a:cubicBezTo>
                    <a:pt x="472" y="2526"/>
                    <a:pt x="472" y="2518"/>
                    <a:pt x="472" y="2511"/>
                  </a:cubicBezTo>
                  <a:cubicBezTo>
                    <a:pt x="472" y="2496"/>
                    <a:pt x="487" y="2488"/>
                    <a:pt x="487" y="2466"/>
                  </a:cubicBezTo>
                  <a:cubicBezTo>
                    <a:pt x="487" y="2451"/>
                    <a:pt x="472" y="2436"/>
                    <a:pt x="457" y="2428"/>
                  </a:cubicBezTo>
                  <a:cubicBezTo>
                    <a:pt x="457" y="2421"/>
                    <a:pt x="450" y="2413"/>
                    <a:pt x="450" y="2413"/>
                  </a:cubicBezTo>
                  <a:cubicBezTo>
                    <a:pt x="435" y="2413"/>
                    <a:pt x="427" y="2413"/>
                    <a:pt x="420" y="2406"/>
                  </a:cubicBezTo>
                  <a:cubicBezTo>
                    <a:pt x="427" y="2398"/>
                    <a:pt x="435" y="2391"/>
                    <a:pt x="442" y="2391"/>
                  </a:cubicBezTo>
                  <a:cubicBezTo>
                    <a:pt x="442" y="2383"/>
                    <a:pt x="450" y="2383"/>
                    <a:pt x="457" y="2383"/>
                  </a:cubicBezTo>
                  <a:cubicBezTo>
                    <a:pt x="465" y="2376"/>
                    <a:pt x="480" y="2368"/>
                    <a:pt x="480" y="2353"/>
                  </a:cubicBezTo>
                  <a:cubicBezTo>
                    <a:pt x="487" y="2331"/>
                    <a:pt x="480" y="2308"/>
                    <a:pt x="495" y="2286"/>
                  </a:cubicBezTo>
                  <a:cubicBezTo>
                    <a:pt x="502" y="2293"/>
                    <a:pt x="502" y="2301"/>
                    <a:pt x="510" y="2308"/>
                  </a:cubicBezTo>
                  <a:cubicBezTo>
                    <a:pt x="510" y="2301"/>
                    <a:pt x="510" y="2293"/>
                    <a:pt x="510" y="2278"/>
                  </a:cubicBezTo>
                  <a:cubicBezTo>
                    <a:pt x="517" y="2248"/>
                    <a:pt x="532" y="2241"/>
                    <a:pt x="555" y="2211"/>
                  </a:cubicBezTo>
                  <a:close/>
                  <a:moveTo>
                    <a:pt x="262" y="2556"/>
                  </a:moveTo>
                  <a:lnTo>
                    <a:pt x="262" y="2556"/>
                  </a:lnTo>
                  <a:cubicBezTo>
                    <a:pt x="255" y="2556"/>
                    <a:pt x="255" y="2563"/>
                    <a:pt x="247" y="2563"/>
                  </a:cubicBezTo>
                  <a:lnTo>
                    <a:pt x="247" y="2571"/>
                  </a:lnTo>
                  <a:cubicBezTo>
                    <a:pt x="247" y="2586"/>
                    <a:pt x="262" y="2593"/>
                    <a:pt x="262" y="2608"/>
                  </a:cubicBezTo>
                  <a:cubicBezTo>
                    <a:pt x="262" y="2616"/>
                    <a:pt x="255" y="2616"/>
                    <a:pt x="255" y="2623"/>
                  </a:cubicBezTo>
                  <a:cubicBezTo>
                    <a:pt x="255" y="2638"/>
                    <a:pt x="270" y="2638"/>
                    <a:pt x="285" y="2638"/>
                  </a:cubicBezTo>
                  <a:cubicBezTo>
                    <a:pt x="292" y="2638"/>
                    <a:pt x="292" y="2638"/>
                    <a:pt x="300" y="2638"/>
                  </a:cubicBezTo>
                  <a:cubicBezTo>
                    <a:pt x="300" y="2631"/>
                    <a:pt x="307" y="2623"/>
                    <a:pt x="307" y="2616"/>
                  </a:cubicBezTo>
                  <a:cubicBezTo>
                    <a:pt x="307" y="2608"/>
                    <a:pt x="307" y="2601"/>
                    <a:pt x="300" y="2586"/>
                  </a:cubicBezTo>
                  <a:cubicBezTo>
                    <a:pt x="300" y="2578"/>
                    <a:pt x="300" y="2571"/>
                    <a:pt x="300" y="2571"/>
                  </a:cubicBezTo>
                  <a:cubicBezTo>
                    <a:pt x="300" y="2563"/>
                    <a:pt x="292" y="2563"/>
                    <a:pt x="285" y="2563"/>
                  </a:cubicBezTo>
                  <a:cubicBezTo>
                    <a:pt x="277" y="2556"/>
                    <a:pt x="270" y="2556"/>
                    <a:pt x="262" y="2556"/>
                  </a:cubicBezTo>
                  <a:close/>
                  <a:moveTo>
                    <a:pt x="202" y="2623"/>
                  </a:moveTo>
                  <a:lnTo>
                    <a:pt x="202" y="2623"/>
                  </a:lnTo>
                  <a:cubicBezTo>
                    <a:pt x="202" y="2638"/>
                    <a:pt x="210" y="2646"/>
                    <a:pt x="218" y="2653"/>
                  </a:cubicBezTo>
                  <a:cubicBezTo>
                    <a:pt x="225" y="2668"/>
                    <a:pt x="232" y="2668"/>
                    <a:pt x="247" y="2676"/>
                  </a:cubicBezTo>
                  <a:cubicBezTo>
                    <a:pt x="255" y="2676"/>
                    <a:pt x="255" y="2676"/>
                    <a:pt x="255" y="2683"/>
                  </a:cubicBezTo>
                  <a:cubicBezTo>
                    <a:pt x="262" y="2690"/>
                    <a:pt x="255" y="2690"/>
                    <a:pt x="255" y="2698"/>
                  </a:cubicBezTo>
                  <a:cubicBezTo>
                    <a:pt x="255" y="2720"/>
                    <a:pt x="262" y="2736"/>
                    <a:pt x="262" y="2750"/>
                  </a:cubicBezTo>
                  <a:cubicBezTo>
                    <a:pt x="270" y="2758"/>
                    <a:pt x="270" y="2758"/>
                    <a:pt x="277" y="2766"/>
                  </a:cubicBezTo>
                  <a:cubicBezTo>
                    <a:pt x="285" y="2780"/>
                    <a:pt x="285" y="2788"/>
                    <a:pt x="292" y="2796"/>
                  </a:cubicBezTo>
                  <a:cubicBezTo>
                    <a:pt x="300" y="2803"/>
                    <a:pt x="307" y="2803"/>
                    <a:pt x="307" y="2810"/>
                  </a:cubicBezTo>
                  <a:cubicBezTo>
                    <a:pt x="307" y="2818"/>
                    <a:pt x="300" y="2818"/>
                    <a:pt x="292" y="2826"/>
                  </a:cubicBezTo>
                  <a:cubicBezTo>
                    <a:pt x="285" y="2826"/>
                    <a:pt x="285" y="2833"/>
                    <a:pt x="277" y="2833"/>
                  </a:cubicBezTo>
                  <a:cubicBezTo>
                    <a:pt x="255" y="2833"/>
                    <a:pt x="247" y="2833"/>
                    <a:pt x="232" y="2833"/>
                  </a:cubicBezTo>
                  <a:cubicBezTo>
                    <a:pt x="232" y="2833"/>
                    <a:pt x="225" y="2840"/>
                    <a:pt x="218" y="2840"/>
                  </a:cubicBezTo>
                  <a:cubicBezTo>
                    <a:pt x="210" y="2840"/>
                    <a:pt x="210" y="2840"/>
                    <a:pt x="210" y="2840"/>
                  </a:cubicBezTo>
                  <a:cubicBezTo>
                    <a:pt x="210" y="2826"/>
                    <a:pt x="210" y="2826"/>
                    <a:pt x="210" y="2810"/>
                  </a:cubicBezTo>
                  <a:cubicBezTo>
                    <a:pt x="195" y="2818"/>
                    <a:pt x="188" y="2818"/>
                    <a:pt x="180" y="2826"/>
                  </a:cubicBezTo>
                  <a:cubicBezTo>
                    <a:pt x="172" y="2833"/>
                    <a:pt x="172" y="2833"/>
                    <a:pt x="165" y="2833"/>
                  </a:cubicBezTo>
                  <a:cubicBezTo>
                    <a:pt x="165" y="2840"/>
                    <a:pt x="150" y="2840"/>
                    <a:pt x="150" y="2840"/>
                  </a:cubicBezTo>
                  <a:cubicBezTo>
                    <a:pt x="150" y="2855"/>
                    <a:pt x="158" y="2863"/>
                    <a:pt x="165" y="2870"/>
                  </a:cubicBezTo>
                  <a:cubicBezTo>
                    <a:pt x="172" y="2878"/>
                    <a:pt x="172" y="2885"/>
                    <a:pt x="180" y="2893"/>
                  </a:cubicBezTo>
                  <a:cubicBezTo>
                    <a:pt x="188" y="2893"/>
                    <a:pt x="188" y="2893"/>
                    <a:pt x="195" y="2900"/>
                  </a:cubicBezTo>
                  <a:cubicBezTo>
                    <a:pt x="188" y="2908"/>
                    <a:pt x="180" y="2908"/>
                    <a:pt x="172" y="2908"/>
                  </a:cubicBezTo>
                  <a:cubicBezTo>
                    <a:pt x="165" y="2908"/>
                    <a:pt x="158" y="2908"/>
                    <a:pt x="150" y="2908"/>
                  </a:cubicBezTo>
                  <a:lnTo>
                    <a:pt x="142" y="2908"/>
                  </a:lnTo>
                  <a:cubicBezTo>
                    <a:pt x="135" y="2908"/>
                    <a:pt x="142" y="2900"/>
                    <a:pt x="135" y="2893"/>
                  </a:cubicBezTo>
                  <a:cubicBezTo>
                    <a:pt x="128" y="2878"/>
                    <a:pt x="120" y="2878"/>
                    <a:pt x="105" y="2878"/>
                  </a:cubicBezTo>
                  <a:cubicBezTo>
                    <a:pt x="90" y="2878"/>
                    <a:pt x="82" y="2878"/>
                    <a:pt x="75" y="2878"/>
                  </a:cubicBezTo>
                  <a:cubicBezTo>
                    <a:pt x="60" y="2878"/>
                    <a:pt x="53" y="2878"/>
                    <a:pt x="45" y="2870"/>
                  </a:cubicBezTo>
                  <a:lnTo>
                    <a:pt x="38" y="2863"/>
                  </a:lnTo>
                  <a:cubicBezTo>
                    <a:pt x="23" y="2863"/>
                    <a:pt x="23" y="2870"/>
                    <a:pt x="8" y="2878"/>
                  </a:cubicBezTo>
                  <a:cubicBezTo>
                    <a:pt x="8" y="2878"/>
                    <a:pt x="8" y="2878"/>
                    <a:pt x="0" y="2878"/>
                  </a:cubicBezTo>
                  <a:cubicBezTo>
                    <a:pt x="0" y="2855"/>
                    <a:pt x="0" y="2848"/>
                    <a:pt x="0" y="2833"/>
                  </a:cubicBezTo>
                  <a:cubicBezTo>
                    <a:pt x="0" y="2826"/>
                    <a:pt x="0" y="2826"/>
                    <a:pt x="0" y="2826"/>
                  </a:cubicBezTo>
                  <a:lnTo>
                    <a:pt x="0" y="2818"/>
                  </a:lnTo>
                  <a:lnTo>
                    <a:pt x="0" y="2810"/>
                  </a:lnTo>
                  <a:cubicBezTo>
                    <a:pt x="8" y="2818"/>
                    <a:pt x="8" y="2818"/>
                    <a:pt x="15" y="2826"/>
                  </a:cubicBezTo>
                  <a:cubicBezTo>
                    <a:pt x="15" y="2818"/>
                    <a:pt x="15" y="2818"/>
                    <a:pt x="15" y="2810"/>
                  </a:cubicBezTo>
                  <a:cubicBezTo>
                    <a:pt x="23" y="2803"/>
                    <a:pt x="30" y="2803"/>
                    <a:pt x="38" y="2796"/>
                  </a:cubicBezTo>
                  <a:cubicBezTo>
                    <a:pt x="38" y="2788"/>
                    <a:pt x="38" y="2788"/>
                    <a:pt x="38" y="2780"/>
                  </a:cubicBezTo>
                  <a:cubicBezTo>
                    <a:pt x="38" y="2758"/>
                    <a:pt x="30" y="2743"/>
                    <a:pt x="30" y="2728"/>
                  </a:cubicBezTo>
                  <a:cubicBezTo>
                    <a:pt x="30" y="2706"/>
                    <a:pt x="38" y="2690"/>
                    <a:pt x="38" y="2668"/>
                  </a:cubicBezTo>
                  <a:cubicBezTo>
                    <a:pt x="38" y="2653"/>
                    <a:pt x="38" y="2646"/>
                    <a:pt x="45" y="2638"/>
                  </a:cubicBezTo>
                  <a:cubicBezTo>
                    <a:pt x="45" y="2638"/>
                    <a:pt x="45" y="2638"/>
                    <a:pt x="45" y="2631"/>
                  </a:cubicBezTo>
                  <a:cubicBezTo>
                    <a:pt x="53" y="2646"/>
                    <a:pt x="60" y="2646"/>
                    <a:pt x="60" y="2661"/>
                  </a:cubicBezTo>
                  <a:cubicBezTo>
                    <a:pt x="68" y="2668"/>
                    <a:pt x="75" y="2676"/>
                    <a:pt x="82" y="2683"/>
                  </a:cubicBezTo>
                  <a:cubicBezTo>
                    <a:pt x="98" y="2676"/>
                    <a:pt x="105" y="2668"/>
                    <a:pt x="128" y="2661"/>
                  </a:cubicBezTo>
                  <a:cubicBezTo>
                    <a:pt x="142" y="2661"/>
                    <a:pt x="150" y="2661"/>
                    <a:pt x="165" y="2653"/>
                  </a:cubicBezTo>
                  <a:cubicBezTo>
                    <a:pt x="180" y="2646"/>
                    <a:pt x="188" y="2638"/>
                    <a:pt x="202" y="2623"/>
                  </a:cubicBezTo>
                  <a:close/>
                  <a:moveTo>
                    <a:pt x="1207" y="1169"/>
                  </a:moveTo>
                  <a:lnTo>
                    <a:pt x="1207" y="1169"/>
                  </a:lnTo>
                  <a:cubicBezTo>
                    <a:pt x="1199" y="1177"/>
                    <a:pt x="1192" y="1177"/>
                    <a:pt x="1192" y="1192"/>
                  </a:cubicBezTo>
                  <a:cubicBezTo>
                    <a:pt x="1192" y="1199"/>
                    <a:pt x="1199" y="1207"/>
                    <a:pt x="1199" y="1222"/>
                  </a:cubicBezTo>
                  <a:cubicBezTo>
                    <a:pt x="1199" y="1229"/>
                    <a:pt x="1199" y="1229"/>
                    <a:pt x="1199" y="1237"/>
                  </a:cubicBezTo>
                  <a:lnTo>
                    <a:pt x="1199" y="1237"/>
                  </a:lnTo>
                  <a:cubicBezTo>
                    <a:pt x="1184" y="1237"/>
                    <a:pt x="1184" y="1229"/>
                    <a:pt x="1169" y="1229"/>
                  </a:cubicBezTo>
                  <a:cubicBezTo>
                    <a:pt x="1169" y="1229"/>
                    <a:pt x="1169" y="1229"/>
                    <a:pt x="1169" y="1237"/>
                  </a:cubicBezTo>
                  <a:cubicBezTo>
                    <a:pt x="1169" y="1244"/>
                    <a:pt x="1169" y="1244"/>
                    <a:pt x="1169" y="1252"/>
                  </a:cubicBezTo>
                  <a:cubicBezTo>
                    <a:pt x="1169" y="1259"/>
                    <a:pt x="1162" y="1259"/>
                    <a:pt x="1162" y="1267"/>
                  </a:cubicBezTo>
                  <a:cubicBezTo>
                    <a:pt x="1162" y="1274"/>
                    <a:pt x="1169" y="1274"/>
                    <a:pt x="1177" y="1274"/>
                  </a:cubicBezTo>
                  <a:cubicBezTo>
                    <a:pt x="1177" y="1282"/>
                    <a:pt x="1184" y="1289"/>
                    <a:pt x="1184" y="1297"/>
                  </a:cubicBezTo>
                  <a:cubicBezTo>
                    <a:pt x="1184" y="1304"/>
                    <a:pt x="1177" y="1304"/>
                    <a:pt x="1184" y="1312"/>
                  </a:cubicBezTo>
                  <a:cubicBezTo>
                    <a:pt x="1184" y="1312"/>
                    <a:pt x="1192" y="1312"/>
                    <a:pt x="1199" y="1319"/>
                  </a:cubicBezTo>
                  <a:cubicBezTo>
                    <a:pt x="1207" y="1319"/>
                    <a:pt x="1207" y="1327"/>
                    <a:pt x="1207" y="1327"/>
                  </a:cubicBezTo>
                  <a:cubicBezTo>
                    <a:pt x="1214" y="1349"/>
                    <a:pt x="1214" y="1357"/>
                    <a:pt x="1229" y="1372"/>
                  </a:cubicBezTo>
                  <a:cubicBezTo>
                    <a:pt x="1244" y="1357"/>
                    <a:pt x="1252" y="1334"/>
                    <a:pt x="1274" y="1327"/>
                  </a:cubicBezTo>
                  <a:cubicBezTo>
                    <a:pt x="1289" y="1327"/>
                    <a:pt x="1312" y="1327"/>
                    <a:pt x="1327" y="1304"/>
                  </a:cubicBezTo>
                  <a:cubicBezTo>
                    <a:pt x="1312" y="1304"/>
                    <a:pt x="1304" y="1297"/>
                    <a:pt x="1297" y="1289"/>
                  </a:cubicBezTo>
                  <a:cubicBezTo>
                    <a:pt x="1297" y="1282"/>
                    <a:pt x="1289" y="1274"/>
                    <a:pt x="1289" y="1267"/>
                  </a:cubicBezTo>
                  <a:cubicBezTo>
                    <a:pt x="1289" y="1252"/>
                    <a:pt x="1297" y="1252"/>
                    <a:pt x="1297" y="1237"/>
                  </a:cubicBezTo>
                  <a:cubicBezTo>
                    <a:pt x="1297" y="1237"/>
                    <a:pt x="1297" y="1229"/>
                    <a:pt x="1297" y="1222"/>
                  </a:cubicBezTo>
                  <a:cubicBezTo>
                    <a:pt x="1297" y="1214"/>
                    <a:pt x="1297" y="1207"/>
                    <a:pt x="1297" y="1199"/>
                  </a:cubicBezTo>
                  <a:cubicBezTo>
                    <a:pt x="1297" y="1192"/>
                    <a:pt x="1297" y="1192"/>
                    <a:pt x="1289" y="1192"/>
                  </a:cubicBezTo>
                  <a:cubicBezTo>
                    <a:pt x="1289" y="1192"/>
                    <a:pt x="1282" y="1192"/>
                    <a:pt x="1274" y="1192"/>
                  </a:cubicBezTo>
                  <a:cubicBezTo>
                    <a:pt x="1259" y="1184"/>
                    <a:pt x="1259" y="1184"/>
                    <a:pt x="1244" y="1177"/>
                  </a:cubicBezTo>
                  <a:lnTo>
                    <a:pt x="1236" y="1169"/>
                  </a:lnTo>
                  <a:cubicBezTo>
                    <a:pt x="1229" y="1169"/>
                    <a:pt x="1229" y="1169"/>
                    <a:pt x="1222" y="1169"/>
                  </a:cubicBezTo>
                  <a:cubicBezTo>
                    <a:pt x="1214" y="1169"/>
                    <a:pt x="1214" y="1169"/>
                    <a:pt x="1207" y="1169"/>
                  </a:cubicBezTo>
                  <a:close/>
                  <a:moveTo>
                    <a:pt x="832" y="83"/>
                  </a:moveTo>
                  <a:lnTo>
                    <a:pt x="832" y="83"/>
                  </a:lnTo>
                  <a:cubicBezTo>
                    <a:pt x="817" y="83"/>
                    <a:pt x="817" y="75"/>
                    <a:pt x="802" y="75"/>
                  </a:cubicBezTo>
                  <a:cubicBezTo>
                    <a:pt x="794" y="90"/>
                    <a:pt x="794" y="98"/>
                    <a:pt x="787" y="105"/>
                  </a:cubicBezTo>
                  <a:cubicBezTo>
                    <a:pt x="779" y="128"/>
                    <a:pt x="779" y="143"/>
                    <a:pt x="772" y="173"/>
                  </a:cubicBezTo>
                  <a:cubicBezTo>
                    <a:pt x="772" y="180"/>
                    <a:pt x="765" y="180"/>
                    <a:pt x="765" y="188"/>
                  </a:cubicBezTo>
                  <a:cubicBezTo>
                    <a:pt x="779" y="195"/>
                    <a:pt x="794" y="195"/>
                    <a:pt x="794" y="210"/>
                  </a:cubicBezTo>
                  <a:cubicBezTo>
                    <a:pt x="794" y="233"/>
                    <a:pt x="787" y="248"/>
                    <a:pt x="772" y="262"/>
                  </a:cubicBezTo>
                  <a:cubicBezTo>
                    <a:pt x="765" y="278"/>
                    <a:pt x="765" y="285"/>
                    <a:pt x="757" y="300"/>
                  </a:cubicBezTo>
                  <a:cubicBezTo>
                    <a:pt x="749" y="315"/>
                    <a:pt x="742" y="322"/>
                    <a:pt x="742" y="345"/>
                  </a:cubicBezTo>
                  <a:lnTo>
                    <a:pt x="749" y="345"/>
                  </a:lnTo>
                  <a:cubicBezTo>
                    <a:pt x="749" y="352"/>
                    <a:pt x="742" y="360"/>
                    <a:pt x="742" y="368"/>
                  </a:cubicBezTo>
                  <a:cubicBezTo>
                    <a:pt x="735" y="368"/>
                    <a:pt x="742" y="375"/>
                    <a:pt x="742" y="375"/>
                  </a:cubicBezTo>
                  <a:cubicBezTo>
                    <a:pt x="742" y="435"/>
                    <a:pt x="742" y="435"/>
                    <a:pt x="742" y="435"/>
                  </a:cubicBezTo>
                  <a:cubicBezTo>
                    <a:pt x="742" y="442"/>
                    <a:pt x="735" y="442"/>
                    <a:pt x="735" y="450"/>
                  </a:cubicBezTo>
                  <a:cubicBezTo>
                    <a:pt x="735" y="465"/>
                    <a:pt x="735" y="465"/>
                    <a:pt x="735" y="465"/>
                  </a:cubicBezTo>
                  <a:cubicBezTo>
                    <a:pt x="742" y="465"/>
                    <a:pt x="742" y="465"/>
                    <a:pt x="742" y="465"/>
                  </a:cubicBezTo>
                  <a:cubicBezTo>
                    <a:pt x="749" y="457"/>
                    <a:pt x="757" y="457"/>
                    <a:pt x="772" y="457"/>
                  </a:cubicBezTo>
                  <a:cubicBezTo>
                    <a:pt x="772" y="465"/>
                    <a:pt x="772" y="472"/>
                    <a:pt x="772" y="480"/>
                  </a:cubicBezTo>
                  <a:cubicBezTo>
                    <a:pt x="772" y="487"/>
                    <a:pt x="772" y="487"/>
                    <a:pt x="779" y="487"/>
                  </a:cubicBezTo>
                  <a:cubicBezTo>
                    <a:pt x="787" y="487"/>
                    <a:pt x="787" y="480"/>
                    <a:pt x="787" y="472"/>
                  </a:cubicBezTo>
                  <a:cubicBezTo>
                    <a:pt x="794" y="472"/>
                    <a:pt x="802" y="465"/>
                    <a:pt x="809" y="465"/>
                  </a:cubicBezTo>
                  <a:cubicBezTo>
                    <a:pt x="817" y="472"/>
                    <a:pt x="817" y="472"/>
                    <a:pt x="817" y="472"/>
                  </a:cubicBezTo>
                  <a:cubicBezTo>
                    <a:pt x="817" y="547"/>
                    <a:pt x="817" y="547"/>
                    <a:pt x="817" y="547"/>
                  </a:cubicBezTo>
                  <a:cubicBezTo>
                    <a:pt x="802" y="540"/>
                    <a:pt x="794" y="540"/>
                    <a:pt x="787" y="525"/>
                  </a:cubicBezTo>
                  <a:cubicBezTo>
                    <a:pt x="787" y="532"/>
                    <a:pt x="779" y="532"/>
                    <a:pt x="779" y="532"/>
                  </a:cubicBezTo>
                  <a:cubicBezTo>
                    <a:pt x="779" y="540"/>
                    <a:pt x="787" y="547"/>
                    <a:pt x="787" y="547"/>
                  </a:cubicBezTo>
                  <a:cubicBezTo>
                    <a:pt x="787" y="562"/>
                    <a:pt x="779" y="562"/>
                    <a:pt x="772" y="570"/>
                  </a:cubicBezTo>
                  <a:cubicBezTo>
                    <a:pt x="765" y="555"/>
                    <a:pt x="765" y="555"/>
                    <a:pt x="757" y="547"/>
                  </a:cubicBezTo>
                  <a:cubicBezTo>
                    <a:pt x="757" y="540"/>
                    <a:pt x="757" y="540"/>
                    <a:pt x="749" y="540"/>
                  </a:cubicBezTo>
                  <a:cubicBezTo>
                    <a:pt x="742" y="540"/>
                    <a:pt x="742" y="547"/>
                    <a:pt x="735" y="547"/>
                  </a:cubicBezTo>
                  <a:cubicBezTo>
                    <a:pt x="727" y="547"/>
                    <a:pt x="719" y="555"/>
                    <a:pt x="712" y="555"/>
                  </a:cubicBezTo>
                  <a:cubicBezTo>
                    <a:pt x="705" y="555"/>
                    <a:pt x="705" y="555"/>
                    <a:pt x="697" y="555"/>
                  </a:cubicBezTo>
                  <a:cubicBezTo>
                    <a:pt x="697" y="555"/>
                    <a:pt x="689" y="555"/>
                    <a:pt x="682" y="555"/>
                  </a:cubicBezTo>
                  <a:cubicBezTo>
                    <a:pt x="675" y="547"/>
                    <a:pt x="675" y="532"/>
                    <a:pt x="667" y="532"/>
                  </a:cubicBezTo>
                  <a:cubicBezTo>
                    <a:pt x="659" y="532"/>
                    <a:pt x="652" y="540"/>
                    <a:pt x="652" y="547"/>
                  </a:cubicBezTo>
                  <a:cubicBezTo>
                    <a:pt x="652" y="555"/>
                    <a:pt x="652" y="555"/>
                    <a:pt x="659" y="562"/>
                  </a:cubicBezTo>
                  <a:cubicBezTo>
                    <a:pt x="659" y="570"/>
                    <a:pt x="667" y="577"/>
                    <a:pt x="667" y="592"/>
                  </a:cubicBezTo>
                  <a:cubicBezTo>
                    <a:pt x="667" y="615"/>
                    <a:pt x="652" y="622"/>
                    <a:pt x="645" y="645"/>
                  </a:cubicBezTo>
                  <a:cubicBezTo>
                    <a:pt x="637" y="667"/>
                    <a:pt x="637" y="675"/>
                    <a:pt x="630" y="697"/>
                  </a:cubicBezTo>
                  <a:cubicBezTo>
                    <a:pt x="630" y="705"/>
                    <a:pt x="622" y="712"/>
                    <a:pt x="622" y="720"/>
                  </a:cubicBezTo>
                  <a:cubicBezTo>
                    <a:pt x="622" y="742"/>
                    <a:pt x="622" y="750"/>
                    <a:pt x="622" y="772"/>
                  </a:cubicBezTo>
                  <a:cubicBezTo>
                    <a:pt x="615" y="779"/>
                    <a:pt x="615" y="787"/>
                    <a:pt x="615" y="802"/>
                  </a:cubicBezTo>
                  <a:lnTo>
                    <a:pt x="622" y="809"/>
                  </a:lnTo>
                  <a:cubicBezTo>
                    <a:pt x="652" y="825"/>
                    <a:pt x="652" y="825"/>
                    <a:pt x="652" y="825"/>
                  </a:cubicBezTo>
                  <a:cubicBezTo>
                    <a:pt x="659" y="832"/>
                    <a:pt x="667" y="839"/>
                    <a:pt x="675" y="839"/>
                  </a:cubicBezTo>
                  <a:cubicBezTo>
                    <a:pt x="689" y="839"/>
                    <a:pt x="697" y="832"/>
                    <a:pt x="712" y="825"/>
                  </a:cubicBezTo>
                  <a:cubicBezTo>
                    <a:pt x="719" y="817"/>
                    <a:pt x="735" y="817"/>
                    <a:pt x="735" y="809"/>
                  </a:cubicBezTo>
                  <a:cubicBezTo>
                    <a:pt x="742" y="795"/>
                    <a:pt x="735" y="787"/>
                    <a:pt x="742" y="779"/>
                  </a:cubicBezTo>
                  <a:cubicBezTo>
                    <a:pt x="749" y="765"/>
                    <a:pt x="757" y="757"/>
                    <a:pt x="765" y="735"/>
                  </a:cubicBezTo>
                  <a:cubicBezTo>
                    <a:pt x="772" y="720"/>
                    <a:pt x="772" y="712"/>
                    <a:pt x="772" y="697"/>
                  </a:cubicBezTo>
                  <a:cubicBezTo>
                    <a:pt x="772" y="690"/>
                    <a:pt x="779" y="690"/>
                    <a:pt x="787" y="682"/>
                  </a:cubicBezTo>
                  <a:cubicBezTo>
                    <a:pt x="787" y="675"/>
                    <a:pt x="794" y="660"/>
                    <a:pt x="794" y="652"/>
                  </a:cubicBezTo>
                  <a:cubicBezTo>
                    <a:pt x="794" y="637"/>
                    <a:pt x="794" y="630"/>
                    <a:pt x="802" y="615"/>
                  </a:cubicBezTo>
                  <a:cubicBezTo>
                    <a:pt x="802" y="607"/>
                    <a:pt x="809" y="600"/>
                    <a:pt x="817" y="592"/>
                  </a:cubicBezTo>
                  <a:cubicBezTo>
                    <a:pt x="832" y="592"/>
                    <a:pt x="839" y="592"/>
                    <a:pt x="847" y="585"/>
                  </a:cubicBezTo>
                  <a:cubicBezTo>
                    <a:pt x="862" y="585"/>
                    <a:pt x="862" y="577"/>
                    <a:pt x="862" y="562"/>
                  </a:cubicBezTo>
                  <a:cubicBezTo>
                    <a:pt x="862" y="555"/>
                    <a:pt x="862" y="555"/>
                    <a:pt x="854" y="555"/>
                  </a:cubicBezTo>
                  <a:cubicBezTo>
                    <a:pt x="847" y="555"/>
                    <a:pt x="847" y="547"/>
                    <a:pt x="847" y="547"/>
                  </a:cubicBezTo>
                  <a:cubicBezTo>
                    <a:pt x="854" y="532"/>
                    <a:pt x="854" y="517"/>
                    <a:pt x="869" y="510"/>
                  </a:cubicBezTo>
                  <a:cubicBezTo>
                    <a:pt x="869" y="502"/>
                    <a:pt x="884" y="502"/>
                    <a:pt x="884" y="495"/>
                  </a:cubicBezTo>
                  <a:cubicBezTo>
                    <a:pt x="869" y="480"/>
                    <a:pt x="862" y="465"/>
                    <a:pt x="862" y="442"/>
                  </a:cubicBezTo>
                  <a:cubicBezTo>
                    <a:pt x="862" y="435"/>
                    <a:pt x="862" y="435"/>
                    <a:pt x="862" y="427"/>
                  </a:cubicBezTo>
                  <a:cubicBezTo>
                    <a:pt x="862" y="420"/>
                    <a:pt x="862" y="420"/>
                    <a:pt x="854" y="420"/>
                  </a:cubicBezTo>
                  <a:cubicBezTo>
                    <a:pt x="847" y="412"/>
                    <a:pt x="847" y="405"/>
                    <a:pt x="847" y="397"/>
                  </a:cubicBezTo>
                  <a:cubicBezTo>
                    <a:pt x="847" y="382"/>
                    <a:pt x="847" y="375"/>
                    <a:pt x="854" y="368"/>
                  </a:cubicBezTo>
                  <a:cubicBezTo>
                    <a:pt x="854" y="360"/>
                    <a:pt x="854" y="352"/>
                    <a:pt x="854" y="345"/>
                  </a:cubicBezTo>
                  <a:cubicBezTo>
                    <a:pt x="862" y="345"/>
                    <a:pt x="862" y="345"/>
                    <a:pt x="862" y="345"/>
                  </a:cubicBezTo>
                  <a:cubicBezTo>
                    <a:pt x="869" y="338"/>
                    <a:pt x="869" y="338"/>
                    <a:pt x="877" y="330"/>
                  </a:cubicBezTo>
                  <a:cubicBezTo>
                    <a:pt x="892" y="308"/>
                    <a:pt x="907" y="300"/>
                    <a:pt x="922" y="278"/>
                  </a:cubicBezTo>
                  <a:cubicBezTo>
                    <a:pt x="944" y="255"/>
                    <a:pt x="944" y="240"/>
                    <a:pt x="952" y="210"/>
                  </a:cubicBezTo>
                  <a:cubicBezTo>
                    <a:pt x="959" y="195"/>
                    <a:pt x="967" y="180"/>
                    <a:pt x="967" y="165"/>
                  </a:cubicBezTo>
                  <a:cubicBezTo>
                    <a:pt x="967" y="158"/>
                    <a:pt x="974" y="150"/>
                    <a:pt x="974" y="143"/>
                  </a:cubicBezTo>
                  <a:cubicBezTo>
                    <a:pt x="974" y="135"/>
                    <a:pt x="959" y="135"/>
                    <a:pt x="952" y="128"/>
                  </a:cubicBezTo>
                  <a:cubicBezTo>
                    <a:pt x="944" y="128"/>
                    <a:pt x="944" y="120"/>
                    <a:pt x="944" y="120"/>
                  </a:cubicBezTo>
                  <a:cubicBezTo>
                    <a:pt x="952" y="113"/>
                    <a:pt x="952" y="113"/>
                    <a:pt x="959" y="113"/>
                  </a:cubicBezTo>
                  <a:cubicBezTo>
                    <a:pt x="967" y="105"/>
                    <a:pt x="974" y="105"/>
                    <a:pt x="974" y="105"/>
                  </a:cubicBezTo>
                  <a:cubicBezTo>
                    <a:pt x="974" y="98"/>
                    <a:pt x="974" y="90"/>
                    <a:pt x="974" y="90"/>
                  </a:cubicBezTo>
                  <a:cubicBezTo>
                    <a:pt x="974" y="75"/>
                    <a:pt x="967" y="68"/>
                    <a:pt x="967" y="60"/>
                  </a:cubicBezTo>
                  <a:cubicBezTo>
                    <a:pt x="967" y="45"/>
                    <a:pt x="967" y="38"/>
                    <a:pt x="967" y="30"/>
                  </a:cubicBezTo>
                  <a:cubicBezTo>
                    <a:pt x="967" y="15"/>
                    <a:pt x="967" y="0"/>
                    <a:pt x="952" y="0"/>
                  </a:cubicBezTo>
                  <a:cubicBezTo>
                    <a:pt x="944" y="0"/>
                    <a:pt x="944" y="8"/>
                    <a:pt x="937" y="8"/>
                  </a:cubicBezTo>
                  <a:cubicBezTo>
                    <a:pt x="929" y="8"/>
                    <a:pt x="922" y="15"/>
                    <a:pt x="914" y="23"/>
                  </a:cubicBezTo>
                  <a:cubicBezTo>
                    <a:pt x="914" y="23"/>
                    <a:pt x="907" y="30"/>
                    <a:pt x="899" y="30"/>
                  </a:cubicBezTo>
                  <a:cubicBezTo>
                    <a:pt x="884" y="45"/>
                    <a:pt x="884" y="53"/>
                    <a:pt x="869" y="68"/>
                  </a:cubicBezTo>
                  <a:cubicBezTo>
                    <a:pt x="854" y="75"/>
                    <a:pt x="847" y="83"/>
                    <a:pt x="832" y="8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132"/>
            <p:cNvSpPr>
              <a:spLocks noChangeArrowheads="1"/>
            </p:cNvSpPr>
            <p:nvPr/>
          </p:nvSpPr>
          <p:spPr bwMode="auto">
            <a:xfrm>
              <a:off x="3345969" y="8910011"/>
              <a:ext cx="1790855" cy="1507084"/>
            </a:xfrm>
            <a:custGeom>
              <a:avLst/>
              <a:gdLst>
                <a:gd name="T0" fmla="*/ 2615 w 4145"/>
                <a:gd name="T1" fmla="*/ 2848 h 3486"/>
                <a:gd name="T2" fmla="*/ 2586 w 4145"/>
                <a:gd name="T3" fmla="*/ 2825 h 3486"/>
                <a:gd name="T4" fmla="*/ 2556 w 4145"/>
                <a:gd name="T5" fmla="*/ 2885 h 3486"/>
                <a:gd name="T6" fmla="*/ 2428 w 4145"/>
                <a:gd name="T7" fmla="*/ 2908 h 3486"/>
                <a:gd name="T8" fmla="*/ 2473 w 4145"/>
                <a:gd name="T9" fmla="*/ 2975 h 3486"/>
                <a:gd name="T10" fmla="*/ 2301 w 4145"/>
                <a:gd name="T11" fmla="*/ 2923 h 3486"/>
                <a:gd name="T12" fmla="*/ 2331 w 4145"/>
                <a:gd name="T13" fmla="*/ 2945 h 3486"/>
                <a:gd name="T14" fmla="*/ 2211 w 4145"/>
                <a:gd name="T15" fmla="*/ 3028 h 3486"/>
                <a:gd name="T16" fmla="*/ 2083 w 4145"/>
                <a:gd name="T17" fmla="*/ 2983 h 3486"/>
                <a:gd name="T18" fmla="*/ 2121 w 4145"/>
                <a:gd name="T19" fmla="*/ 2998 h 3486"/>
                <a:gd name="T20" fmla="*/ 1851 w 4145"/>
                <a:gd name="T21" fmla="*/ 3088 h 3486"/>
                <a:gd name="T22" fmla="*/ 1926 w 4145"/>
                <a:gd name="T23" fmla="*/ 3125 h 3486"/>
                <a:gd name="T24" fmla="*/ 1836 w 4145"/>
                <a:gd name="T25" fmla="*/ 2975 h 3486"/>
                <a:gd name="T26" fmla="*/ 1754 w 4145"/>
                <a:gd name="T27" fmla="*/ 2975 h 3486"/>
                <a:gd name="T28" fmla="*/ 1791 w 4145"/>
                <a:gd name="T29" fmla="*/ 2863 h 3486"/>
                <a:gd name="T30" fmla="*/ 1514 w 4145"/>
                <a:gd name="T31" fmla="*/ 3425 h 3486"/>
                <a:gd name="T32" fmla="*/ 1709 w 4145"/>
                <a:gd name="T33" fmla="*/ 3387 h 3486"/>
                <a:gd name="T34" fmla="*/ 1626 w 4145"/>
                <a:gd name="T35" fmla="*/ 3372 h 3486"/>
                <a:gd name="T36" fmla="*/ 2503 w 4145"/>
                <a:gd name="T37" fmla="*/ 390 h 3486"/>
                <a:gd name="T38" fmla="*/ 2428 w 4145"/>
                <a:gd name="T39" fmla="*/ 337 h 3486"/>
                <a:gd name="T40" fmla="*/ 2466 w 4145"/>
                <a:gd name="T41" fmla="*/ 375 h 3486"/>
                <a:gd name="T42" fmla="*/ 2743 w 4145"/>
                <a:gd name="T43" fmla="*/ 0 h 3486"/>
                <a:gd name="T44" fmla="*/ 2735 w 4145"/>
                <a:gd name="T45" fmla="*/ 247 h 3486"/>
                <a:gd name="T46" fmla="*/ 2810 w 4145"/>
                <a:gd name="T47" fmla="*/ 68 h 3486"/>
                <a:gd name="T48" fmla="*/ 4002 w 4145"/>
                <a:gd name="T49" fmla="*/ 1611 h 3486"/>
                <a:gd name="T50" fmla="*/ 3882 w 4145"/>
                <a:gd name="T51" fmla="*/ 1836 h 3486"/>
                <a:gd name="T52" fmla="*/ 3875 w 4145"/>
                <a:gd name="T53" fmla="*/ 2121 h 3486"/>
                <a:gd name="T54" fmla="*/ 3927 w 4145"/>
                <a:gd name="T55" fmla="*/ 2278 h 3486"/>
                <a:gd name="T56" fmla="*/ 3650 w 4145"/>
                <a:gd name="T57" fmla="*/ 2451 h 3486"/>
                <a:gd name="T58" fmla="*/ 3575 w 4145"/>
                <a:gd name="T59" fmla="*/ 2488 h 3486"/>
                <a:gd name="T60" fmla="*/ 3305 w 4145"/>
                <a:gd name="T61" fmla="*/ 2615 h 3486"/>
                <a:gd name="T62" fmla="*/ 3065 w 4145"/>
                <a:gd name="T63" fmla="*/ 2623 h 3486"/>
                <a:gd name="T64" fmla="*/ 2855 w 4145"/>
                <a:gd name="T65" fmla="*/ 2735 h 3486"/>
                <a:gd name="T66" fmla="*/ 2593 w 4145"/>
                <a:gd name="T67" fmla="*/ 2750 h 3486"/>
                <a:gd name="T68" fmla="*/ 2316 w 4145"/>
                <a:gd name="T69" fmla="*/ 2818 h 3486"/>
                <a:gd name="T70" fmla="*/ 2023 w 4145"/>
                <a:gd name="T71" fmla="*/ 2975 h 3486"/>
                <a:gd name="T72" fmla="*/ 1851 w 4145"/>
                <a:gd name="T73" fmla="*/ 2788 h 3486"/>
                <a:gd name="T74" fmla="*/ 1656 w 4145"/>
                <a:gd name="T75" fmla="*/ 2885 h 3486"/>
                <a:gd name="T76" fmla="*/ 1544 w 4145"/>
                <a:gd name="T77" fmla="*/ 3013 h 3486"/>
                <a:gd name="T78" fmla="*/ 1439 w 4145"/>
                <a:gd name="T79" fmla="*/ 3432 h 3486"/>
                <a:gd name="T80" fmla="*/ 1042 w 4145"/>
                <a:gd name="T81" fmla="*/ 3200 h 3486"/>
                <a:gd name="T82" fmla="*/ 652 w 4145"/>
                <a:gd name="T83" fmla="*/ 3282 h 3486"/>
                <a:gd name="T84" fmla="*/ 277 w 4145"/>
                <a:gd name="T85" fmla="*/ 3237 h 3486"/>
                <a:gd name="T86" fmla="*/ 38 w 4145"/>
                <a:gd name="T87" fmla="*/ 3208 h 3486"/>
                <a:gd name="T88" fmla="*/ 15 w 4145"/>
                <a:gd name="T89" fmla="*/ 2878 h 3486"/>
                <a:gd name="T90" fmla="*/ 180 w 4145"/>
                <a:gd name="T91" fmla="*/ 2735 h 3486"/>
                <a:gd name="T92" fmla="*/ 307 w 4145"/>
                <a:gd name="T93" fmla="*/ 2735 h 3486"/>
                <a:gd name="T94" fmla="*/ 375 w 4145"/>
                <a:gd name="T95" fmla="*/ 2720 h 3486"/>
                <a:gd name="T96" fmla="*/ 667 w 4145"/>
                <a:gd name="T97" fmla="*/ 2548 h 3486"/>
                <a:gd name="T98" fmla="*/ 1049 w 4145"/>
                <a:gd name="T99" fmla="*/ 2323 h 3486"/>
                <a:gd name="T100" fmla="*/ 1304 w 4145"/>
                <a:gd name="T101" fmla="*/ 2076 h 3486"/>
                <a:gd name="T102" fmla="*/ 1626 w 4145"/>
                <a:gd name="T103" fmla="*/ 1814 h 3486"/>
                <a:gd name="T104" fmla="*/ 2023 w 4145"/>
                <a:gd name="T105" fmla="*/ 1432 h 3486"/>
                <a:gd name="T106" fmla="*/ 2128 w 4145"/>
                <a:gd name="T107" fmla="*/ 1229 h 3486"/>
                <a:gd name="T108" fmla="*/ 2526 w 4145"/>
                <a:gd name="T109" fmla="*/ 1064 h 3486"/>
                <a:gd name="T110" fmla="*/ 2818 w 4145"/>
                <a:gd name="T111" fmla="*/ 1259 h 3486"/>
                <a:gd name="T112" fmla="*/ 3148 w 4145"/>
                <a:gd name="T113" fmla="*/ 1162 h 3486"/>
                <a:gd name="T114" fmla="*/ 3740 w 4145"/>
                <a:gd name="T115" fmla="*/ 1124 h 3486"/>
                <a:gd name="T116" fmla="*/ 4010 w 4145"/>
                <a:gd name="T117" fmla="*/ 1049 h 3486"/>
                <a:gd name="T118" fmla="*/ 4099 w 4145"/>
                <a:gd name="T119" fmla="*/ 1289 h 3486"/>
                <a:gd name="T120" fmla="*/ 4099 w 4145"/>
                <a:gd name="T121" fmla="*/ 1536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45" h="3486">
                  <a:moveTo>
                    <a:pt x="2631" y="2795"/>
                  </a:moveTo>
                  <a:lnTo>
                    <a:pt x="2631" y="2795"/>
                  </a:lnTo>
                  <a:cubicBezTo>
                    <a:pt x="2623" y="2795"/>
                    <a:pt x="2623" y="2795"/>
                    <a:pt x="2623" y="2795"/>
                  </a:cubicBezTo>
                  <a:cubicBezTo>
                    <a:pt x="2600" y="2795"/>
                    <a:pt x="2600" y="2795"/>
                    <a:pt x="2600" y="2795"/>
                  </a:cubicBezTo>
                  <a:cubicBezTo>
                    <a:pt x="2600" y="2795"/>
                    <a:pt x="2600" y="2795"/>
                    <a:pt x="2600" y="2803"/>
                  </a:cubicBezTo>
                  <a:cubicBezTo>
                    <a:pt x="2600" y="2810"/>
                    <a:pt x="2600" y="2818"/>
                    <a:pt x="2608" y="2825"/>
                  </a:cubicBezTo>
                  <a:cubicBezTo>
                    <a:pt x="2608" y="2833"/>
                    <a:pt x="2608" y="2840"/>
                    <a:pt x="2615" y="2848"/>
                  </a:cubicBezTo>
                  <a:cubicBezTo>
                    <a:pt x="2623" y="2855"/>
                    <a:pt x="2631" y="2855"/>
                    <a:pt x="2631" y="2855"/>
                  </a:cubicBezTo>
                  <a:cubicBezTo>
                    <a:pt x="2645" y="2878"/>
                    <a:pt x="2638" y="2863"/>
                    <a:pt x="2645" y="2840"/>
                  </a:cubicBezTo>
                  <a:cubicBezTo>
                    <a:pt x="2653" y="2840"/>
                    <a:pt x="2661" y="2840"/>
                    <a:pt x="2661" y="2833"/>
                  </a:cubicBezTo>
                  <a:cubicBezTo>
                    <a:pt x="2661" y="2825"/>
                    <a:pt x="2653" y="2825"/>
                    <a:pt x="2653" y="2825"/>
                  </a:cubicBezTo>
                  <a:cubicBezTo>
                    <a:pt x="2645" y="2818"/>
                    <a:pt x="2645" y="2818"/>
                    <a:pt x="2645" y="2810"/>
                  </a:cubicBezTo>
                  <a:cubicBezTo>
                    <a:pt x="2645" y="2803"/>
                    <a:pt x="2638" y="2803"/>
                    <a:pt x="2631" y="2795"/>
                  </a:cubicBezTo>
                  <a:close/>
                  <a:moveTo>
                    <a:pt x="2586" y="2825"/>
                  </a:moveTo>
                  <a:lnTo>
                    <a:pt x="2586" y="2825"/>
                  </a:lnTo>
                  <a:cubicBezTo>
                    <a:pt x="2563" y="2840"/>
                    <a:pt x="2548" y="2840"/>
                    <a:pt x="2526" y="2840"/>
                  </a:cubicBezTo>
                  <a:cubicBezTo>
                    <a:pt x="2526" y="2855"/>
                    <a:pt x="2518" y="2855"/>
                    <a:pt x="2518" y="2870"/>
                  </a:cubicBezTo>
                  <a:cubicBezTo>
                    <a:pt x="2518" y="2885"/>
                    <a:pt x="2518" y="2893"/>
                    <a:pt x="2518" y="2908"/>
                  </a:cubicBezTo>
                  <a:cubicBezTo>
                    <a:pt x="2526" y="2908"/>
                    <a:pt x="2526" y="2908"/>
                    <a:pt x="2526" y="2908"/>
                  </a:cubicBezTo>
                  <a:cubicBezTo>
                    <a:pt x="2533" y="2900"/>
                    <a:pt x="2541" y="2900"/>
                    <a:pt x="2548" y="2893"/>
                  </a:cubicBezTo>
                  <a:cubicBezTo>
                    <a:pt x="2556" y="2893"/>
                    <a:pt x="2556" y="2885"/>
                    <a:pt x="2556" y="2885"/>
                  </a:cubicBezTo>
                  <a:cubicBezTo>
                    <a:pt x="2571" y="2878"/>
                    <a:pt x="2593" y="2870"/>
                    <a:pt x="2593" y="2855"/>
                  </a:cubicBezTo>
                  <a:cubicBezTo>
                    <a:pt x="2593" y="2848"/>
                    <a:pt x="2586" y="2840"/>
                    <a:pt x="2586" y="2825"/>
                  </a:cubicBezTo>
                  <a:close/>
                  <a:moveTo>
                    <a:pt x="2458" y="2863"/>
                  </a:moveTo>
                  <a:lnTo>
                    <a:pt x="2458" y="2863"/>
                  </a:lnTo>
                  <a:cubicBezTo>
                    <a:pt x="2451" y="2863"/>
                    <a:pt x="2451" y="2863"/>
                    <a:pt x="2451" y="2863"/>
                  </a:cubicBezTo>
                  <a:cubicBezTo>
                    <a:pt x="2436" y="2863"/>
                    <a:pt x="2421" y="2863"/>
                    <a:pt x="2421" y="2878"/>
                  </a:cubicBezTo>
                  <a:cubicBezTo>
                    <a:pt x="2421" y="2885"/>
                    <a:pt x="2428" y="2893"/>
                    <a:pt x="2428" y="2908"/>
                  </a:cubicBezTo>
                  <a:cubicBezTo>
                    <a:pt x="2428" y="2915"/>
                    <a:pt x="2428" y="2923"/>
                    <a:pt x="2421" y="2930"/>
                  </a:cubicBezTo>
                  <a:cubicBezTo>
                    <a:pt x="2421" y="2938"/>
                    <a:pt x="2413" y="2945"/>
                    <a:pt x="2406" y="2945"/>
                  </a:cubicBezTo>
                  <a:cubicBezTo>
                    <a:pt x="2391" y="2960"/>
                    <a:pt x="2376" y="2968"/>
                    <a:pt x="2376" y="2990"/>
                  </a:cubicBezTo>
                  <a:cubicBezTo>
                    <a:pt x="2376" y="2998"/>
                    <a:pt x="2383" y="2998"/>
                    <a:pt x="2383" y="2998"/>
                  </a:cubicBezTo>
                  <a:cubicBezTo>
                    <a:pt x="2391" y="2998"/>
                    <a:pt x="2391" y="2998"/>
                    <a:pt x="2398" y="2990"/>
                  </a:cubicBezTo>
                  <a:cubicBezTo>
                    <a:pt x="2406" y="2983"/>
                    <a:pt x="2413" y="2983"/>
                    <a:pt x="2428" y="2983"/>
                  </a:cubicBezTo>
                  <a:cubicBezTo>
                    <a:pt x="2451" y="2975"/>
                    <a:pt x="2458" y="2983"/>
                    <a:pt x="2473" y="2975"/>
                  </a:cubicBezTo>
                  <a:cubicBezTo>
                    <a:pt x="2473" y="2930"/>
                    <a:pt x="2473" y="2930"/>
                    <a:pt x="2473" y="2930"/>
                  </a:cubicBezTo>
                  <a:lnTo>
                    <a:pt x="2481" y="2923"/>
                  </a:lnTo>
                  <a:cubicBezTo>
                    <a:pt x="2481" y="2908"/>
                    <a:pt x="2473" y="2908"/>
                    <a:pt x="2473" y="2893"/>
                  </a:cubicBezTo>
                  <a:cubicBezTo>
                    <a:pt x="2466" y="2885"/>
                    <a:pt x="2458" y="2870"/>
                    <a:pt x="2458" y="2863"/>
                  </a:cubicBezTo>
                  <a:close/>
                  <a:moveTo>
                    <a:pt x="2353" y="2885"/>
                  </a:moveTo>
                  <a:lnTo>
                    <a:pt x="2353" y="2885"/>
                  </a:lnTo>
                  <a:cubicBezTo>
                    <a:pt x="2331" y="2900"/>
                    <a:pt x="2323" y="2915"/>
                    <a:pt x="2301" y="2923"/>
                  </a:cubicBezTo>
                  <a:cubicBezTo>
                    <a:pt x="2293" y="2923"/>
                    <a:pt x="2278" y="2923"/>
                    <a:pt x="2263" y="2930"/>
                  </a:cubicBezTo>
                  <a:cubicBezTo>
                    <a:pt x="2263" y="2938"/>
                    <a:pt x="2263" y="2945"/>
                    <a:pt x="2263" y="2953"/>
                  </a:cubicBezTo>
                  <a:cubicBezTo>
                    <a:pt x="2263" y="2960"/>
                    <a:pt x="2263" y="2960"/>
                    <a:pt x="2263" y="2968"/>
                  </a:cubicBezTo>
                  <a:cubicBezTo>
                    <a:pt x="2263" y="2975"/>
                    <a:pt x="2263" y="2975"/>
                    <a:pt x="2263" y="2975"/>
                  </a:cubicBezTo>
                  <a:cubicBezTo>
                    <a:pt x="2278" y="2975"/>
                    <a:pt x="2278" y="2975"/>
                    <a:pt x="2278" y="2975"/>
                  </a:cubicBezTo>
                  <a:cubicBezTo>
                    <a:pt x="2293" y="2975"/>
                    <a:pt x="2301" y="2975"/>
                    <a:pt x="2316" y="2968"/>
                  </a:cubicBezTo>
                  <a:cubicBezTo>
                    <a:pt x="2323" y="2968"/>
                    <a:pt x="2323" y="2960"/>
                    <a:pt x="2331" y="2945"/>
                  </a:cubicBezTo>
                  <a:cubicBezTo>
                    <a:pt x="2338" y="2945"/>
                    <a:pt x="2338" y="2938"/>
                    <a:pt x="2338" y="2938"/>
                  </a:cubicBezTo>
                  <a:cubicBezTo>
                    <a:pt x="2346" y="2915"/>
                    <a:pt x="2353" y="2908"/>
                    <a:pt x="2353" y="2885"/>
                  </a:cubicBezTo>
                  <a:close/>
                  <a:moveTo>
                    <a:pt x="2256" y="3005"/>
                  </a:moveTo>
                  <a:lnTo>
                    <a:pt x="2256" y="3005"/>
                  </a:lnTo>
                  <a:cubicBezTo>
                    <a:pt x="2248" y="3005"/>
                    <a:pt x="2241" y="3013"/>
                    <a:pt x="2233" y="3013"/>
                  </a:cubicBezTo>
                  <a:cubicBezTo>
                    <a:pt x="2226" y="3013"/>
                    <a:pt x="2218" y="3013"/>
                    <a:pt x="2218" y="3013"/>
                  </a:cubicBezTo>
                  <a:cubicBezTo>
                    <a:pt x="2211" y="3020"/>
                    <a:pt x="2211" y="3028"/>
                    <a:pt x="2211" y="3028"/>
                  </a:cubicBezTo>
                  <a:cubicBezTo>
                    <a:pt x="2211" y="3043"/>
                    <a:pt x="2211" y="3043"/>
                    <a:pt x="2211" y="3058"/>
                  </a:cubicBezTo>
                  <a:cubicBezTo>
                    <a:pt x="2233" y="3050"/>
                    <a:pt x="2241" y="3035"/>
                    <a:pt x="2263" y="3035"/>
                  </a:cubicBezTo>
                  <a:cubicBezTo>
                    <a:pt x="2263" y="3028"/>
                    <a:pt x="2263" y="3028"/>
                    <a:pt x="2263" y="3028"/>
                  </a:cubicBezTo>
                  <a:cubicBezTo>
                    <a:pt x="2263" y="3020"/>
                    <a:pt x="2256" y="3013"/>
                    <a:pt x="2256" y="3005"/>
                  </a:cubicBezTo>
                  <a:close/>
                  <a:moveTo>
                    <a:pt x="2091" y="2983"/>
                  </a:moveTo>
                  <a:lnTo>
                    <a:pt x="2091" y="2983"/>
                  </a:lnTo>
                  <a:lnTo>
                    <a:pt x="2083" y="2983"/>
                  </a:lnTo>
                  <a:cubicBezTo>
                    <a:pt x="2083" y="2990"/>
                    <a:pt x="2076" y="2998"/>
                    <a:pt x="2076" y="3005"/>
                  </a:cubicBezTo>
                  <a:cubicBezTo>
                    <a:pt x="2076" y="3013"/>
                    <a:pt x="2083" y="3013"/>
                    <a:pt x="2091" y="3013"/>
                  </a:cubicBezTo>
                  <a:cubicBezTo>
                    <a:pt x="2098" y="3020"/>
                    <a:pt x="2098" y="3020"/>
                    <a:pt x="2106" y="3028"/>
                  </a:cubicBezTo>
                  <a:cubicBezTo>
                    <a:pt x="2121" y="3028"/>
                    <a:pt x="2121" y="3035"/>
                    <a:pt x="2136" y="3035"/>
                  </a:cubicBezTo>
                  <a:cubicBezTo>
                    <a:pt x="2143" y="3035"/>
                    <a:pt x="2151" y="3028"/>
                    <a:pt x="2151" y="3013"/>
                  </a:cubicBezTo>
                  <a:cubicBezTo>
                    <a:pt x="2151" y="3005"/>
                    <a:pt x="2143" y="3005"/>
                    <a:pt x="2136" y="3005"/>
                  </a:cubicBezTo>
                  <a:cubicBezTo>
                    <a:pt x="2136" y="2998"/>
                    <a:pt x="2128" y="2998"/>
                    <a:pt x="2121" y="2998"/>
                  </a:cubicBezTo>
                  <a:cubicBezTo>
                    <a:pt x="2113" y="2990"/>
                    <a:pt x="2106" y="2990"/>
                    <a:pt x="2098" y="2983"/>
                  </a:cubicBezTo>
                  <a:cubicBezTo>
                    <a:pt x="2091" y="2983"/>
                    <a:pt x="2091" y="2983"/>
                    <a:pt x="2091" y="2983"/>
                  </a:cubicBezTo>
                  <a:close/>
                  <a:moveTo>
                    <a:pt x="1889" y="3005"/>
                  </a:moveTo>
                  <a:lnTo>
                    <a:pt x="1889" y="3005"/>
                  </a:lnTo>
                  <a:cubicBezTo>
                    <a:pt x="1874" y="3005"/>
                    <a:pt x="1866" y="3005"/>
                    <a:pt x="1859" y="3013"/>
                  </a:cubicBezTo>
                  <a:cubicBezTo>
                    <a:pt x="1851" y="3035"/>
                    <a:pt x="1859" y="3043"/>
                    <a:pt x="1859" y="3065"/>
                  </a:cubicBezTo>
                  <a:cubicBezTo>
                    <a:pt x="1859" y="3072"/>
                    <a:pt x="1859" y="3080"/>
                    <a:pt x="1851" y="3088"/>
                  </a:cubicBezTo>
                  <a:cubicBezTo>
                    <a:pt x="1851" y="3088"/>
                    <a:pt x="1844" y="3080"/>
                    <a:pt x="1844" y="3088"/>
                  </a:cubicBezTo>
                  <a:cubicBezTo>
                    <a:pt x="1829" y="3095"/>
                    <a:pt x="1821" y="3102"/>
                    <a:pt x="1821" y="3118"/>
                  </a:cubicBezTo>
                  <a:cubicBezTo>
                    <a:pt x="1821" y="3125"/>
                    <a:pt x="1829" y="3132"/>
                    <a:pt x="1829" y="3140"/>
                  </a:cubicBezTo>
                  <a:cubicBezTo>
                    <a:pt x="1836" y="3132"/>
                    <a:pt x="1844" y="3132"/>
                    <a:pt x="1851" y="3132"/>
                  </a:cubicBezTo>
                  <a:cubicBezTo>
                    <a:pt x="1874" y="3132"/>
                    <a:pt x="1889" y="3132"/>
                    <a:pt x="1911" y="3148"/>
                  </a:cubicBezTo>
                  <a:cubicBezTo>
                    <a:pt x="1919" y="3140"/>
                    <a:pt x="1919" y="3140"/>
                    <a:pt x="1919" y="3140"/>
                  </a:cubicBezTo>
                  <a:cubicBezTo>
                    <a:pt x="1919" y="3132"/>
                    <a:pt x="1926" y="3132"/>
                    <a:pt x="1926" y="3125"/>
                  </a:cubicBezTo>
                  <a:cubicBezTo>
                    <a:pt x="1926" y="3102"/>
                    <a:pt x="1889" y="3095"/>
                    <a:pt x="1889" y="3072"/>
                  </a:cubicBezTo>
                  <a:cubicBezTo>
                    <a:pt x="1889" y="3065"/>
                    <a:pt x="1896" y="3058"/>
                    <a:pt x="1896" y="3043"/>
                  </a:cubicBezTo>
                  <a:cubicBezTo>
                    <a:pt x="1896" y="3028"/>
                    <a:pt x="1889" y="3020"/>
                    <a:pt x="1889" y="3005"/>
                  </a:cubicBezTo>
                  <a:close/>
                  <a:moveTo>
                    <a:pt x="1844" y="2863"/>
                  </a:moveTo>
                  <a:lnTo>
                    <a:pt x="1844" y="2863"/>
                  </a:lnTo>
                  <a:cubicBezTo>
                    <a:pt x="1844" y="2878"/>
                    <a:pt x="1844" y="2893"/>
                    <a:pt x="1844" y="2900"/>
                  </a:cubicBezTo>
                  <a:cubicBezTo>
                    <a:pt x="1844" y="2930"/>
                    <a:pt x="1851" y="2953"/>
                    <a:pt x="1836" y="2975"/>
                  </a:cubicBezTo>
                  <a:cubicBezTo>
                    <a:pt x="1829" y="2990"/>
                    <a:pt x="1821" y="2998"/>
                    <a:pt x="1821" y="3013"/>
                  </a:cubicBezTo>
                  <a:cubicBezTo>
                    <a:pt x="1821" y="3035"/>
                    <a:pt x="1829" y="3050"/>
                    <a:pt x="1829" y="3065"/>
                  </a:cubicBezTo>
                  <a:cubicBezTo>
                    <a:pt x="1821" y="3072"/>
                    <a:pt x="1821" y="3072"/>
                    <a:pt x="1821" y="3072"/>
                  </a:cubicBezTo>
                  <a:cubicBezTo>
                    <a:pt x="1814" y="3065"/>
                    <a:pt x="1806" y="3065"/>
                    <a:pt x="1791" y="3058"/>
                  </a:cubicBezTo>
                  <a:cubicBezTo>
                    <a:pt x="1799" y="3035"/>
                    <a:pt x="1799" y="3035"/>
                    <a:pt x="1799" y="3035"/>
                  </a:cubicBezTo>
                  <a:cubicBezTo>
                    <a:pt x="1799" y="3013"/>
                    <a:pt x="1799" y="3005"/>
                    <a:pt x="1799" y="2983"/>
                  </a:cubicBezTo>
                  <a:cubicBezTo>
                    <a:pt x="1784" y="2983"/>
                    <a:pt x="1769" y="2990"/>
                    <a:pt x="1754" y="2975"/>
                  </a:cubicBezTo>
                  <a:cubicBezTo>
                    <a:pt x="1731" y="2960"/>
                    <a:pt x="1731" y="2938"/>
                    <a:pt x="1724" y="2908"/>
                  </a:cubicBezTo>
                  <a:cubicBezTo>
                    <a:pt x="1739" y="2915"/>
                    <a:pt x="1739" y="2915"/>
                    <a:pt x="1739" y="2915"/>
                  </a:cubicBezTo>
                  <a:cubicBezTo>
                    <a:pt x="1754" y="2923"/>
                    <a:pt x="1761" y="2923"/>
                    <a:pt x="1776" y="2930"/>
                  </a:cubicBezTo>
                  <a:cubicBezTo>
                    <a:pt x="1776" y="2938"/>
                    <a:pt x="1776" y="2938"/>
                    <a:pt x="1784" y="2945"/>
                  </a:cubicBezTo>
                  <a:cubicBezTo>
                    <a:pt x="1791" y="2953"/>
                    <a:pt x="1806" y="2960"/>
                    <a:pt x="1814" y="2968"/>
                  </a:cubicBezTo>
                  <a:cubicBezTo>
                    <a:pt x="1814" y="2945"/>
                    <a:pt x="1814" y="2938"/>
                    <a:pt x="1814" y="2915"/>
                  </a:cubicBezTo>
                  <a:cubicBezTo>
                    <a:pt x="1806" y="2900"/>
                    <a:pt x="1791" y="2885"/>
                    <a:pt x="1791" y="2863"/>
                  </a:cubicBezTo>
                  <a:cubicBezTo>
                    <a:pt x="1814" y="2870"/>
                    <a:pt x="1821" y="2870"/>
                    <a:pt x="1844" y="2863"/>
                  </a:cubicBezTo>
                  <a:close/>
                  <a:moveTo>
                    <a:pt x="1544" y="3320"/>
                  </a:moveTo>
                  <a:lnTo>
                    <a:pt x="1544" y="3320"/>
                  </a:lnTo>
                  <a:cubicBezTo>
                    <a:pt x="1536" y="3320"/>
                    <a:pt x="1529" y="3327"/>
                    <a:pt x="1521" y="3335"/>
                  </a:cubicBezTo>
                  <a:cubicBezTo>
                    <a:pt x="1514" y="3335"/>
                    <a:pt x="1506" y="3335"/>
                    <a:pt x="1499" y="3335"/>
                  </a:cubicBezTo>
                  <a:cubicBezTo>
                    <a:pt x="1499" y="3342"/>
                    <a:pt x="1492" y="3350"/>
                    <a:pt x="1492" y="3357"/>
                  </a:cubicBezTo>
                  <a:cubicBezTo>
                    <a:pt x="1492" y="3380"/>
                    <a:pt x="1506" y="3395"/>
                    <a:pt x="1514" y="3425"/>
                  </a:cubicBezTo>
                  <a:cubicBezTo>
                    <a:pt x="1521" y="3432"/>
                    <a:pt x="1521" y="3455"/>
                    <a:pt x="1536" y="3455"/>
                  </a:cubicBezTo>
                  <a:cubicBezTo>
                    <a:pt x="1574" y="3455"/>
                    <a:pt x="1581" y="3402"/>
                    <a:pt x="1619" y="3402"/>
                  </a:cubicBezTo>
                  <a:cubicBezTo>
                    <a:pt x="1641" y="3402"/>
                    <a:pt x="1649" y="3425"/>
                    <a:pt x="1664" y="3447"/>
                  </a:cubicBezTo>
                  <a:cubicBezTo>
                    <a:pt x="1679" y="3440"/>
                    <a:pt x="1679" y="3440"/>
                    <a:pt x="1679" y="3440"/>
                  </a:cubicBezTo>
                  <a:cubicBezTo>
                    <a:pt x="1679" y="3432"/>
                    <a:pt x="1679" y="3425"/>
                    <a:pt x="1679" y="3417"/>
                  </a:cubicBezTo>
                  <a:cubicBezTo>
                    <a:pt x="1679" y="3402"/>
                    <a:pt x="1694" y="3402"/>
                    <a:pt x="1701" y="3395"/>
                  </a:cubicBezTo>
                  <a:cubicBezTo>
                    <a:pt x="1709" y="3395"/>
                    <a:pt x="1701" y="3387"/>
                    <a:pt x="1709" y="3387"/>
                  </a:cubicBezTo>
                  <a:cubicBezTo>
                    <a:pt x="1716" y="3387"/>
                    <a:pt x="1716" y="3387"/>
                    <a:pt x="1724" y="3387"/>
                  </a:cubicBezTo>
                  <a:cubicBezTo>
                    <a:pt x="1746" y="3380"/>
                    <a:pt x="1761" y="3365"/>
                    <a:pt x="1776" y="3350"/>
                  </a:cubicBezTo>
                  <a:cubicBezTo>
                    <a:pt x="1769" y="3350"/>
                    <a:pt x="1769" y="3342"/>
                    <a:pt x="1761" y="3342"/>
                  </a:cubicBezTo>
                  <a:cubicBezTo>
                    <a:pt x="1731" y="3342"/>
                    <a:pt x="1716" y="3357"/>
                    <a:pt x="1701" y="3372"/>
                  </a:cubicBezTo>
                  <a:cubicBezTo>
                    <a:pt x="1686" y="3380"/>
                    <a:pt x="1686" y="3395"/>
                    <a:pt x="1671" y="3395"/>
                  </a:cubicBezTo>
                  <a:cubicBezTo>
                    <a:pt x="1664" y="3395"/>
                    <a:pt x="1664" y="3380"/>
                    <a:pt x="1656" y="3380"/>
                  </a:cubicBezTo>
                  <a:cubicBezTo>
                    <a:pt x="1649" y="3380"/>
                    <a:pt x="1634" y="3380"/>
                    <a:pt x="1626" y="3372"/>
                  </a:cubicBezTo>
                  <a:cubicBezTo>
                    <a:pt x="1619" y="3365"/>
                    <a:pt x="1619" y="3357"/>
                    <a:pt x="1611" y="3350"/>
                  </a:cubicBezTo>
                  <a:cubicBezTo>
                    <a:pt x="1596" y="3327"/>
                    <a:pt x="1574" y="3320"/>
                    <a:pt x="1544" y="3320"/>
                  </a:cubicBezTo>
                  <a:close/>
                  <a:moveTo>
                    <a:pt x="2563" y="330"/>
                  </a:moveTo>
                  <a:lnTo>
                    <a:pt x="2563" y="330"/>
                  </a:lnTo>
                  <a:cubicBezTo>
                    <a:pt x="2556" y="322"/>
                    <a:pt x="2548" y="322"/>
                    <a:pt x="2541" y="322"/>
                  </a:cubicBezTo>
                  <a:cubicBezTo>
                    <a:pt x="2518" y="322"/>
                    <a:pt x="2518" y="352"/>
                    <a:pt x="2518" y="382"/>
                  </a:cubicBezTo>
                  <a:cubicBezTo>
                    <a:pt x="2511" y="382"/>
                    <a:pt x="2511" y="390"/>
                    <a:pt x="2503" y="390"/>
                  </a:cubicBezTo>
                  <a:cubicBezTo>
                    <a:pt x="2503" y="405"/>
                    <a:pt x="2503" y="412"/>
                    <a:pt x="2503" y="420"/>
                  </a:cubicBezTo>
                  <a:cubicBezTo>
                    <a:pt x="2503" y="420"/>
                    <a:pt x="2503" y="427"/>
                    <a:pt x="2511" y="427"/>
                  </a:cubicBezTo>
                  <a:cubicBezTo>
                    <a:pt x="2526" y="427"/>
                    <a:pt x="2526" y="412"/>
                    <a:pt x="2533" y="405"/>
                  </a:cubicBezTo>
                  <a:cubicBezTo>
                    <a:pt x="2541" y="397"/>
                    <a:pt x="2548" y="382"/>
                    <a:pt x="2556" y="382"/>
                  </a:cubicBezTo>
                  <a:cubicBezTo>
                    <a:pt x="2563" y="382"/>
                    <a:pt x="2571" y="382"/>
                    <a:pt x="2578" y="382"/>
                  </a:cubicBezTo>
                  <a:cubicBezTo>
                    <a:pt x="2578" y="367"/>
                    <a:pt x="2563" y="352"/>
                    <a:pt x="2563" y="330"/>
                  </a:cubicBezTo>
                  <a:close/>
                  <a:moveTo>
                    <a:pt x="2428" y="337"/>
                  </a:moveTo>
                  <a:lnTo>
                    <a:pt x="2428" y="337"/>
                  </a:lnTo>
                  <a:cubicBezTo>
                    <a:pt x="2428" y="330"/>
                    <a:pt x="2436" y="330"/>
                    <a:pt x="2443" y="330"/>
                  </a:cubicBezTo>
                  <a:cubicBezTo>
                    <a:pt x="2443" y="322"/>
                    <a:pt x="2443" y="315"/>
                    <a:pt x="2451" y="307"/>
                  </a:cubicBezTo>
                  <a:cubicBezTo>
                    <a:pt x="2473" y="285"/>
                    <a:pt x="2496" y="292"/>
                    <a:pt x="2518" y="292"/>
                  </a:cubicBezTo>
                  <a:cubicBezTo>
                    <a:pt x="2503" y="307"/>
                    <a:pt x="2488" y="315"/>
                    <a:pt x="2481" y="337"/>
                  </a:cubicBezTo>
                  <a:cubicBezTo>
                    <a:pt x="2473" y="345"/>
                    <a:pt x="2481" y="352"/>
                    <a:pt x="2481" y="367"/>
                  </a:cubicBezTo>
                  <a:cubicBezTo>
                    <a:pt x="2473" y="367"/>
                    <a:pt x="2473" y="367"/>
                    <a:pt x="2466" y="375"/>
                  </a:cubicBezTo>
                  <a:cubicBezTo>
                    <a:pt x="2458" y="375"/>
                    <a:pt x="2458" y="367"/>
                    <a:pt x="2451" y="367"/>
                  </a:cubicBezTo>
                  <a:cubicBezTo>
                    <a:pt x="2428" y="367"/>
                    <a:pt x="2421" y="375"/>
                    <a:pt x="2406" y="390"/>
                  </a:cubicBezTo>
                  <a:cubicBezTo>
                    <a:pt x="2406" y="390"/>
                    <a:pt x="2406" y="397"/>
                    <a:pt x="2406" y="405"/>
                  </a:cubicBezTo>
                  <a:cubicBezTo>
                    <a:pt x="2398" y="405"/>
                    <a:pt x="2391" y="405"/>
                    <a:pt x="2391" y="405"/>
                  </a:cubicBezTo>
                  <a:cubicBezTo>
                    <a:pt x="2391" y="375"/>
                    <a:pt x="2391" y="360"/>
                    <a:pt x="2406" y="330"/>
                  </a:cubicBezTo>
                  <a:cubicBezTo>
                    <a:pt x="2428" y="337"/>
                    <a:pt x="2428" y="337"/>
                    <a:pt x="2428" y="337"/>
                  </a:cubicBezTo>
                  <a:close/>
                  <a:moveTo>
                    <a:pt x="2743" y="0"/>
                  </a:moveTo>
                  <a:lnTo>
                    <a:pt x="2743" y="0"/>
                  </a:lnTo>
                  <a:cubicBezTo>
                    <a:pt x="2728" y="8"/>
                    <a:pt x="2713" y="8"/>
                    <a:pt x="2691" y="23"/>
                  </a:cubicBezTo>
                  <a:cubicBezTo>
                    <a:pt x="2675" y="30"/>
                    <a:pt x="2668" y="45"/>
                    <a:pt x="2653" y="68"/>
                  </a:cubicBezTo>
                  <a:cubicBezTo>
                    <a:pt x="2645" y="90"/>
                    <a:pt x="2631" y="97"/>
                    <a:pt x="2631" y="120"/>
                  </a:cubicBezTo>
                  <a:cubicBezTo>
                    <a:pt x="2631" y="135"/>
                    <a:pt x="2638" y="143"/>
                    <a:pt x="2645" y="157"/>
                  </a:cubicBezTo>
                  <a:cubicBezTo>
                    <a:pt x="2653" y="173"/>
                    <a:pt x="2661" y="180"/>
                    <a:pt x="2675" y="195"/>
                  </a:cubicBezTo>
                  <a:cubicBezTo>
                    <a:pt x="2698" y="217"/>
                    <a:pt x="2705" y="247"/>
                    <a:pt x="2735" y="247"/>
                  </a:cubicBezTo>
                  <a:cubicBezTo>
                    <a:pt x="2743" y="247"/>
                    <a:pt x="2743" y="240"/>
                    <a:pt x="2751" y="240"/>
                  </a:cubicBezTo>
                  <a:cubicBezTo>
                    <a:pt x="2773" y="232"/>
                    <a:pt x="2788" y="240"/>
                    <a:pt x="2803" y="225"/>
                  </a:cubicBezTo>
                  <a:cubicBezTo>
                    <a:pt x="2810" y="217"/>
                    <a:pt x="2810" y="210"/>
                    <a:pt x="2818" y="203"/>
                  </a:cubicBezTo>
                  <a:cubicBezTo>
                    <a:pt x="2833" y="195"/>
                    <a:pt x="2848" y="187"/>
                    <a:pt x="2848" y="173"/>
                  </a:cubicBezTo>
                  <a:cubicBezTo>
                    <a:pt x="2848" y="165"/>
                    <a:pt x="2848" y="157"/>
                    <a:pt x="2840" y="150"/>
                  </a:cubicBezTo>
                  <a:cubicBezTo>
                    <a:pt x="2840" y="120"/>
                    <a:pt x="2848" y="105"/>
                    <a:pt x="2833" y="83"/>
                  </a:cubicBezTo>
                  <a:cubicBezTo>
                    <a:pt x="2833" y="75"/>
                    <a:pt x="2818" y="75"/>
                    <a:pt x="2810" y="68"/>
                  </a:cubicBezTo>
                  <a:cubicBezTo>
                    <a:pt x="2803" y="60"/>
                    <a:pt x="2795" y="53"/>
                    <a:pt x="2788" y="45"/>
                  </a:cubicBezTo>
                  <a:cubicBezTo>
                    <a:pt x="2773" y="30"/>
                    <a:pt x="2765" y="8"/>
                    <a:pt x="2743" y="0"/>
                  </a:cubicBezTo>
                  <a:close/>
                  <a:moveTo>
                    <a:pt x="4040" y="1544"/>
                  </a:moveTo>
                  <a:lnTo>
                    <a:pt x="4040" y="1544"/>
                  </a:lnTo>
                  <a:cubicBezTo>
                    <a:pt x="4032" y="1551"/>
                    <a:pt x="4024" y="1559"/>
                    <a:pt x="4017" y="1566"/>
                  </a:cubicBezTo>
                  <a:cubicBezTo>
                    <a:pt x="4010" y="1574"/>
                    <a:pt x="3994" y="1574"/>
                    <a:pt x="3994" y="1589"/>
                  </a:cubicBezTo>
                  <a:cubicBezTo>
                    <a:pt x="3994" y="1596"/>
                    <a:pt x="4002" y="1604"/>
                    <a:pt x="4002" y="1611"/>
                  </a:cubicBezTo>
                  <a:cubicBezTo>
                    <a:pt x="4032" y="1611"/>
                    <a:pt x="4032" y="1611"/>
                    <a:pt x="4032" y="1611"/>
                  </a:cubicBezTo>
                  <a:cubicBezTo>
                    <a:pt x="4032" y="1649"/>
                    <a:pt x="4032" y="1649"/>
                    <a:pt x="4032" y="1649"/>
                  </a:cubicBezTo>
                  <a:cubicBezTo>
                    <a:pt x="4017" y="1656"/>
                    <a:pt x="4010" y="1664"/>
                    <a:pt x="3994" y="1671"/>
                  </a:cubicBezTo>
                  <a:cubicBezTo>
                    <a:pt x="3972" y="1686"/>
                    <a:pt x="3972" y="1709"/>
                    <a:pt x="3957" y="1739"/>
                  </a:cubicBezTo>
                  <a:cubicBezTo>
                    <a:pt x="3950" y="1754"/>
                    <a:pt x="3934" y="1754"/>
                    <a:pt x="3920" y="1761"/>
                  </a:cubicBezTo>
                  <a:cubicBezTo>
                    <a:pt x="3904" y="1776"/>
                    <a:pt x="3890" y="1791"/>
                    <a:pt x="3882" y="1814"/>
                  </a:cubicBezTo>
                  <a:cubicBezTo>
                    <a:pt x="3882" y="1821"/>
                    <a:pt x="3882" y="1829"/>
                    <a:pt x="3882" y="1836"/>
                  </a:cubicBezTo>
                  <a:cubicBezTo>
                    <a:pt x="3882" y="1851"/>
                    <a:pt x="3875" y="1851"/>
                    <a:pt x="3875" y="1866"/>
                  </a:cubicBezTo>
                  <a:cubicBezTo>
                    <a:pt x="3875" y="1881"/>
                    <a:pt x="3875" y="1889"/>
                    <a:pt x="3875" y="1903"/>
                  </a:cubicBezTo>
                  <a:cubicBezTo>
                    <a:pt x="3875" y="1919"/>
                    <a:pt x="3867" y="1933"/>
                    <a:pt x="3867" y="1949"/>
                  </a:cubicBezTo>
                  <a:cubicBezTo>
                    <a:pt x="3867" y="1971"/>
                    <a:pt x="3890" y="1979"/>
                    <a:pt x="3890" y="2001"/>
                  </a:cubicBezTo>
                  <a:cubicBezTo>
                    <a:pt x="3890" y="2016"/>
                    <a:pt x="3875" y="2023"/>
                    <a:pt x="3875" y="2038"/>
                  </a:cubicBezTo>
                  <a:cubicBezTo>
                    <a:pt x="3860" y="2068"/>
                    <a:pt x="3860" y="2083"/>
                    <a:pt x="3860" y="2113"/>
                  </a:cubicBezTo>
                  <a:cubicBezTo>
                    <a:pt x="3860" y="2121"/>
                    <a:pt x="3867" y="2121"/>
                    <a:pt x="3875" y="2121"/>
                  </a:cubicBezTo>
                  <a:cubicBezTo>
                    <a:pt x="3890" y="2136"/>
                    <a:pt x="3897" y="2136"/>
                    <a:pt x="3912" y="2151"/>
                  </a:cubicBezTo>
                  <a:cubicBezTo>
                    <a:pt x="3912" y="2158"/>
                    <a:pt x="3920" y="2166"/>
                    <a:pt x="3927" y="2173"/>
                  </a:cubicBezTo>
                  <a:cubicBezTo>
                    <a:pt x="3927" y="2181"/>
                    <a:pt x="3942" y="2188"/>
                    <a:pt x="3942" y="2196"/>
                  </a:cubicBezTo>
                  <a:cubicBezTo>
                    <a:pt x="3942" y="2211"/>
                    <a:pt x="3934" y="2218"/>
                    <a:pt x="3934" y="2233"/>
                  </a:cubicBezTo>
                  <a:cubicBezTo>
                    <a:pt x="3934" y="2248"/>
                    <a:pt x="3934" y="2256"/>
                    <a:pt x="3942" y="2271"/>
                  </a:cubicBezTo>
                  <a:lnTo>
                    <a:pt x="3942" y="2271"/>
                  </a:lnTo>
                  <a:cubicBezTo>
                    <a:pt x="3934" y="2271"/>
                    <a:pt x="3927" y="2278"/>
                    <a:pt x="3927" y="2278"/>
                  </a:cubicBezTo>
                  <a:cubicBezTo>
                    <a:pt x="3920" y="2278"/>
                    <a:pt x="3920" y="2263"/>
                    <a:pt x="3912" y="2263"/>
                  </a:cubicBezTo>
                  <a:cubicBezTo>
                    <a:pt x="3882" y="2263"/>
                    <a:pt x="3875" y="2293"/>
                    <a:pt x="3845" y="2293"/>
                  </a:cubicBezTo>
                  <a:cubicBezTo>
                    <a:pt x="3822" y="2286"/>
                    <a:pt x="3830" y="2271"/>
                    <a:pt x="3830" y="2308"/>
                  </a:cubicBezTo>
                  <a:cubicBezTo>
                    <a:pt x="3830" y="2331"/>
                    <a:pt x="3807" y="2338"/>
                    <a:pt x="3792" y="2346"/>
                  </a:cubicBezTo>
                  <a:cubicBezTo>
                    <a:pt x="3770" y="2368"/>
                    <a:pt x="3762" y="2383"/>
                    <a:pt x="3747" y="2406"/>
                  </a:cubicBezTo>
                  <a:cubicBezTo>
                    <a:pt x="3717" y="2428"/>
                    <a:pt x="3702" y="2436"/>
                    <a:pt x="3665" y="2443"/>
                  </a:cubicBezTo>
                  <a:cubicBezTo>
                    <a:pt x="3657" y="2451"/>
                    <a:pt x="3657" y="2451"/>
                    <a:pt x="3650" y="2451"/>
                  </a:cubicBezTo>
                  <a:cubicBezTo>
                    <a:pt x="3635" y="2451"/>
                    <a:pt x="3620" y="2451"/>
                    <a:pt x="3605" y="2443"/>
                  </a:cubicBezTo>
                  <a:cubicBezTo>
                    <a:pt x="3590" y="2436"/>
                    <a:pt x="3582" y="2421"/>
                    <a:pt x="3567" y="2421"/>
                  </a:cubicBezTo>
                  <a:cubicBezTo>
                    <a:pt x="3522" y="2421"/>
                    <a:pt x="3470" y="2443"/>
                    <a:pt x="3470" y="2488"/>
                  </a:cubicBezTo>
                  <a:cubicBezTo>
                    <a:pt x="3470" y="2503"/>
                    <a:pt x="3470" y="2511"/>
                    <a:pt x="3477" y="2518"/>
                  </a:cubicBezTo>
                  <a:cubicBezTo>
                    <a:pt x="3500" y="2503"/>
                    <a:pt x="3515" y="2496"/>
                    <a:pt x="3530" y="2481"/>
                  </a:cubicBezTo>
                  <a:cubicBezTo>
                    <a:pt x="3537" y="2466"/>
                    <a:pt x="3537" y="2458"/>
                    <a:pt x="3545" y="2451"/>
                  </a:cubicBezTo>
                  <a:cubicBezTo>
                    <a:pt x="3560" y="2466"/>
                    <a:pt x="3575" y="2473"/>
                    <a:pt x="3575" y="2488"/>
                  </a:cubicBezTo>
                  <a:cubicBezTo>
                    <a:pt x="3575" y="2511"/>
                    <a:pt x="3567" y="2526"/>
                    <a:pt x="3560" y="2533"/>
                  </a:cubicBezTo>
                  <a:cubicBezTo>
                    <a:pt x="3545" y="2548"/>
                    <a:pt x="3530" y="2548"/>
                    <a:pt x="3522" y="2563"/>
                  </a:cubicBezTo>
                  <a:cubicBezTo>
                    <a:pt x="3507" y="2585"/>
                    <a:pt x="3515" y="2608"/>
                    <a:pt x="3492" y="2623"/>
                  </a:cubicBezTo>
                  <a:cubicBezTo>
                    <a:pt x="3485" y="2631"/>
                    <a:pt x="3477" y="2631"/>
                    <a:pt x="3470" y="2631"/>
                  </a:cubicBezTo>
                  <a:cubicBezTo>
                    <a:pt x="3447" y="2631"/>
                    <a:pt x="3440" y="2623"/>
                    <a:pt x="3417" y="2615"/>
                  </a:cubicBezTo>
                  <a:cubicBezTo>
                    <a:pt x="3395" y="2608"/>
                    <a:pt x="3372" y="2615"/>
                    <a:pt x="3342" y="2615"/>
                  </a:cubicBezTo>
                  <a:cubicBezTo>
                    <a:pt x="3328" y="2615"/>
                    <a:pt x="3320" y="2615"/>
                    <a:pt x="3305" y="2615"/>
                  </a:cubicBezTo>
                  <a:cubicBezTo>
                    <a:pt x="3298" y="2615"/>
                    <a:pt x="3298" y="2601"/>
                    <a:pt x="3290" y="2593"/>
                  </a:cubicBezTo>
                  <a:cubicBezTo>
                    <a:pt x="3290" y="2585"/>
                    <a:pt x="3282" y="2578"/>
                    <a:pt x="3275" y="2571"/>
                  </a:cubicBezTo>
                  <a:cubicBezTo>
                    <a:pt x="3260" y="2548"/>
                    <a:pt x="3238" y="2533"/>
                    <a:pt x="3208" y="2533"/>
                  </a:cubicBezTo>
                  <a:cubicBezTo>
                    <a:pt x="3178" y="2533"/>
                    <a:pt x="3163" y="2548"/>
                    <a:pt x="3148" y="2571"/>
                  </a:cubicBezTo>
                  <a:cubicBezTo>
                    <a:pt x="3133" y="2578"/>
                    <a:pt x="3118" y="2585"/>
                    <a:pt x="3110" y="2593"/>
                  </a:cubicBezTo>
                  <a:cubicBezTo>
                    <a:pt x="3103" y="2601"/>
                    <a:pt x="3095" y="2608"/>
                    <a:pt x="3088" y="2615"/>
                  </a:cubicBezTo>
                  <a:cubicBezTo>
                    <a:pt x="3080" y="2623"/>
                    <a:pt x="3073" y="2615"/>
                    <a:pt x="3065" y="2623"/>
                  </a:cubicBezTo>
                  <a:cubicBezTo>
                    <a:pt x="3035" y="2631"/>
                    <a:pt x="3020" y="2638"/>
                    <a:pt x="2990" y="2645"/>
                  </a:cubicBezTo>
                  <a:cubicBezTo>
                    <a:pt x="2975" y="2645"/>
                    <a:pt x="2975" y="2653"/>
                    <a:pt x="2960" y="2653"/>
                  </a:cubicBezTo>
                  <a:cubicBezTo>
                    <a:pt x="2945" y="2653"/>
                    <a:pt x="2945" y="2638"/>
                    <a:pt x="2938" y="2631"/>
                  </a:cubicBezTo>
                  <a:cubicBezTo>
                    <a:pt x="2938" y="2623"/>
                    <a:pt x="2930" y="2623"/>
                    <a:pt x="2923" y="2623"/>
                  </a:cubicBezTo>
                  <a:cubicBezTo>
                    <a:pt x="2915" y="2638"/>
                    <a:pt x="2908" y="2653"/>
                    <a:pt x="2893" y="2668"/>
                  </a:cubicBezTo>
                  <a:cubicBezTo>
                    <a:pt x="2878" y="2675"/>
                    <a:pt x="2870" y="2683"/>
                    <a:pt x="2863" y="2698"/>
                  </a:cubicBezTo>
                  <a:cubicBezTo>
                    <a:pt x="2855" y="2713"/>
                    <a:pt x="2855" y="2728"/>
                    <a:pt x="2855" y="2735"/>
                  </a:cubicBezTo>
                  <a:cubicBezTo>
                    <a:pt x="2848" y="2750"/>
                    <a:pt x="2833" y="2758"/>
                    <a:pt x="2818" y="2758"/>
                  </a:cubicBezTo>
                  <a:cubicBezTo>
                    <a:pt x="2788" y="2758"/>
                    <a:pt x="2773" y="2750"/>
                    <a:pt x="2743" y="2750"/>
                  </a:cubicBezTo>
                  <a:cubicBezTo>
                    <a:pt x="2728" y="2750"/>
                    <a:pt x="2713" y="2750"/>
                    <a:pt x="2705" y="2750"/>
                  </a:cubicBezTo>
                  <a:cubicBezTo>
                    <a:pt x="2691" y="2743"/>
                    <a:pt x="2683" y="2728"/>
                    <a:pt x="2668" y="2720"/>
                  </a:cubicBezTo>
                  <a:cubicBezTo>
                    <a:pt x="2668" y="2735"/>
                    <a:pt x="2661" y="2743"/>
                    <a:pt x="2653" y="2758"/>
                  </a:cubicBezTo>
                  <a:cubicBezTo>
                    <a:pt x="2653" y="2765"/>
                    <a:pt x="2653" y="2780"/>
                    <a:pt x="2638" y="2780"/>
                  </a:cubicBezTo>
                  <a:cubicBezTo>
                    <a:pt x="2615" y="2780"/>
                    <a:pt x="2600" y="2765"/>
                    <a:pt x="2593" y="2750"/>
                  </a:cubicBezTo>
                  <a:cubicBezTo>
                    <a:pt x="2578" y="2750"/>
                    <a:pt x="2578" y="2758"/>
                    <a:pt x="2563" y="2758"/>
                  </a:cubicBezTo>
                  <a:cubicBezTo>
                    <a:pt x="2556" y="2758"/>
                    <a:pt x="2548" y="2758"/>
                    <a:pt x="2541" y="2750"/>
                  </a:cubicBezTo>
                  <a:cubicBezTo>
                    <a:pt x="2533" y="2750"/>
                    <a:pt x="2533" y="2743"/>
                    <a:pt x="2526" y="2743"/>
                  </a:cubicBezTo>
                  <a:cubicBezTo>
                    <a:pt x="2503" y="2743"/>
                    <a:pt x="2503" y="2773"/>
                    <a:pt x="2496" y="2788"/>
                  </a:cubicBezTo>
                  <a:cubicBezTo>
                    <a:pt x="2481" y="2803"/>
                    <a:pt x="2466" y="2810"/>
                    <a:pt x="2443" y="2810"/>
                  </a:cubicBezTo>
                  <a:cubicBezTo>
                    <a:pt x="2421" y="2810"/>
                    <a:pt x="2406" y="2803"/>
                    <a:pt x="2383" y="2795"/>
                  </a:cubicBezTo>
                  <a:cubicBezTo>
                    <a:pt x="2361" y="2803"/>
                    <a:pt x="2346" y="2810"/>
                    <a:pt x="2316" y="2818"/>
                  </a:cubicBezTo>
                  <a:cubicBezTo>
                    <a:pt x="2301" y="2818"/>
                    <a:pt x="2293" y="2825"/>
                    <a:pt x="2278" y="2833"/>
                  </a:cubicBezTo>
                  <a:cubicBezTo>
                    <a:pt x="2263" y="2848"/>
                    <a:pt x="2256" y="2863"/>
                    <a:pt x="2233" y="2863"/>
                  </a:cubicBezTo>
                  <a:cubicBezTo>
                    <a:pt x="2218" y="2863"/>
                    <a:pt x="2218" y="2848"/>
                    <a:pt x="2203" y="2848"/>
                  </a:cubicBezTo>
                  <a:cubicBezTo>
                    <a:pt x="2196" y="2848"/>
                    <a:pt x="2196" y="2855"/>
                    <a:pt x="2196" y="2855"/>
                  </a:cubicBezTo>
                  <a:cubicBezTo>
                    <a:pt x="2158" y="2870"/>
                    <a:pt x="2158" y="2893"/>
                    <a:pt x="2136" y="2915"/>
                  </a:cubicBezTo>
                  <a:cubicBezTo>
                    <a:pt x="2106" y="2938"/>
                    <a:pt x="2091" y="2953"/>
                    <a:pt x="2061" y="2960"/>
                  </a:cubicBezTo>
                  <a:cubicBezTo>
                    <a:pt x="2046" y="2968"/>
                    <a:pt x="2039" y="2975"/>
                    <a:pt x="2023" y="2975"/>
                  </a:cubicBezTo>
                  <a:cubicBezTo>
                    <a:pt x="2009" y="2975"/>
                    <a:pt x="2001" y="2968"/>
                    <a:pt x="1986" y="2968"/>
                  </a:cubicBezTo>
                  <a:cubicBezTo>
                    <a:pt x="1963" y="2968"/>
                    <a:pt x="1956" y="2975"/>
                    <a:pt x="1933" y="2975"/>
                  </a:cubicBezTo>
                  <a:cubicBezTo>
                    <a:pt x="1911" y="2975"/>
                    <a:pt x="1911" y="2975"/>
                    <a:pt x="1911" y="2975"/>
                  </a:cubicBezTo>
                  <a:cubicBezTo>
                    <a:pt x="1911" y="2945"/>
                    <a:pt x="1911" y="2945"/>
                    <a:pt x="1911" y="2945"/>
                  </a:cubicBezTo>
                  <a:cubicBezTo>
                    <a:pt x="1926" y="2923"/>
                    <a:pt x="1926" y="2923"/>
                    <a:pt x="1926" y="2923"/>
                  </a:cubicBezTo>
                  <a:cubicBezTo>
                    <a:pt x="1903" y="2900"/>
                    <a:pt x="1881" y="2893"/>
                    <a:pt x="1874" y="2863"/>
                  </a:cubicBezTo>
                  <a:cubicBezTo>
                    <a:pt x="1859" y="2840"/>
                    <a:pt x="1866" y="2810"/>
                    <a:pt x="1851" y="2788"/>
                  </a:cubicBezTo>
                  <a:cubicBezTo>
                    <a:pt x="1829" y="2773"/>
                    <a:pt x="1814" y="2780"/>
                    <a:pt x="1784" y="2780"/>
                  </a:cubicBezTo>
                  <a:cubicBezTo>
                    <a:pt x="1761" y="2780"/>
                    <a:pt x="1746" y="2780"/>
                    <a:pt x="1724" y="2773"/>
                  </a:cubicBezTo>
                  <a:cubicBezTo>
                    <a:pt x="1716" y="2773"/>
                    <a:pt x="1716" y="2765"/>
                    <a:pt x="1709" y="2765"/>
                  </a:cubicBezTo>
                  <a:cubicBezTo>
                    <a:pt x="1686" y="2765"/>
                    <a:pt x="1671" y="2788"/>
                    <a:pt x="1656" y="2810"/>
                  </a:cubicBezTo>
                  <a:cubicBezTo>
                    <a:pt x="1634" y="2833"/>
                    <a:pt x="1619" y="2848"/>
                    <a:pt x="1604" y="2870"/>
                  </a:cubicBezTo>
                  <a:cubicBezTo>
                    <a:pt x="1619" y="2878"/>
                    <a:pt x="1626" y="2878"/>
                    <a:pt x="1641" y="2878"/>
                  </a:cubicBezTo>
                  <a:cubicBezTo>
                    <a:pt x="1649" y="2878"/>
                    <a:pt x="1649" y="2885"/>
                    <a:pt x="1656" y="2885"/>
                  </a:cubicBezTo>
                  <a:cubicBezTo>
                    <a:pt x="1641" y="2900"/>
                    <a:pt x="1626" y="2908"/>
                    <a:pt x="1611" y="2923"/>
                  </a:cubicBezTo>
                  <a:cubicBezTo>
                    <a:pt x="1604" y="2930"/>
                    <a:pt x="1604" y="2938"/>
                    <a:pt x="1596" y="2938"/>
                  </a:cubicBezTo>
                  <a:cubicBezTo>
                    <a:pt x="1596" y="2945"/>
                    <a:pt x="1589" y="2938"/>
                    <a:pt x="1581" y="2938"/>
                  </a:cubicBezTo>
                  <a:cubicBezTo>
                    <a:pt x="1581" y="2923"/>
                    <a:pt x="1581" y="2908"/>
                    <a:pt x="1581" y="2893"/>
                  </a:cubicBezTo>
                  <a:cubicBezTo>
                    <a:pt x="1574" y="2915"/>
                    <a:pt x="1566" y="2930"/>
                    <a:pt x="1559" y="2953"/>
                  </a:cubicBezTo>
                  <a:cubicBezTo>
                    <a:pt x="1551" y="2968"/>
                    <a:pt x="1536" y="2968"/>
                    <a:pt x="1536" y="2975"/>
                  </a:cubicBezTo>
                  <a:cubicBezTo>
                    <a:pt x="1536" y="2990"/>
                    <a:pt x="1544" y="2998"/>
                    <a:pt x="1544" y="3013"/>
                  </a:cubicBezTo>
                  <a:cubicBezTo>
                    <a:pt x="1544" y="3020"/>
                    <a:pt x="1559" y="3028"/>
                    <a:pt x="1559" y="3035"/>
                  </a:cubicBezTo>
                  <a:cubicBezTo>
                    <a:pt x="1559" y="3072"/>
                    <a:pt x="1514" y="3088"/>
                    <a:pt x="1514" y="3132"/>
                  </a:cubicBezTo>
                  <a:cubicBezTo>
                    <a:pt x="1514" y="3178"/>
                    <a:pt x="1529" y="3200"/>
                    <a:pt x="1529" y="3245"/>
                  </a:cubicBezTo>
                  <a:cubicBezTo>
                    <a:pt x="1529" y="3275"/>
                    <a:pt x="1506" y="3282"/>
                    <a:pt x="1492" y="3297"/>
                  </a:cubicBezTo>
                  <a:cubicBezTo>
                    <a:pt x="1476" y="3305"/>
                    <a:pt x="1476" y="3312"/>
                    <a:pt x="1469" y="3312"/>
                  </a:cubicBezTo>
                  <a:cubicBezTo>
                    <a:pt x="1454" y="3320"/>
                    <a:pt x="1446" y="3312"/>
                    <a:pt x="1439" y="3312"/>
                  </a:cubicBezTo>
                  <a:cubicBezTo>
                    <a:pt x="1439" y="3432"/>
                    <a:pt x="1439" y="3432"/>
                    <a:pt x="1439" y="3432"/>
                  </a:cubicBezTo>
                  <a:cubicBezTo>
                    <a:pt x="1439" y="3447"/>
                    <a:pt x="1446" y="3462"/>
                    <a:pt x="1446" y="3485"/>
                  </a:cubicBezTo>
                  <a:cubicBezTo>
                    <a:pt x="1409" y="3455"/>
                    <a:pt x="1402" y="3417"/>
                    <a:pt x="1364" y="3395"/>
                  </a:cubicBezTo>
                  <a:cubicBezTo>
                    <a:pt x="1342" y="3387"/>
                    <a:pt x="1319" y="3380"/>
                    <a:pt x="1297" y="3372"/>
                  </a:cubicBezTo>
                  <a:cubicBezTo>
                    <a:pt x="1274" y="3357"/>
                    <a:pt x="1274" y="3335"/>
                    <a:pt x="1252" y="3320"/>
                  </a:cubicBezTo>
                  <a:cubicBezTo>
                    <a:pt x="1214" y="3290"/>
                    <a:pt x="1184" y="3275"/>
                    <a:pt x="1139" y="3252"/>
                  </a:cubicBezTo>
                  <a:cubicBezTo>
                    <a:pt x="1109" y="3237"/>
                    <a:pt x="1094" y="3230"/>
                    <a:pt x="1064" y="3215"/>
                  </a:cubicBezTo>
                  <a:cubicBezTo>
                    <a:pt x="1057" y="3208"/>
                    <a:pt x="1049" y="3200"/>
                    <a:pt x="1042" y="3200"/>
                  </a:cubicBezTo>
                  <a:cubicBezTo>
                    <a:pt x="1034" y="3192"/>
                    <a:pt x="1034" y="3185"/>
                    <a:pt x="1027" y="3185"/>
                  </a:cubicBezTo>
                  <a:cubicBezTo>
                    <a:pt x="967" y="3185"/>
                    <a:pt x="967" y="3185"/>
                    <a:pt x="967" y="3185"/>
                  </a:cubicBezTo>
                  <a:cubicBezTo>
                    <a:pt x="952" y="3185"/>
                    <a:pt x="944" y="3192"/>
                    <a:pt x="937" y="3200"/>
                  </a:cubicBezTo>
                  <a:cubicBezTo>
                    <a:pt x="914" y="3200"/>
                    <a:pt x="899" y="3200"/>
                    <a:pt x="877" y="3215"/>
                  </a:cubicBezTo>
                  <a:cubicBezTo>
                    <a:pt x="839" y="3230"/>
                    <a:pt x="832" y="3275"/>
                    <a:pt x="794" y="3275"/>
                  </a:cubicBezTo>
                  <a:cubicBezTo>
                    <a:pt x="764" y="3275"/>
                    <a:pt x="750" y="3245"/>
                    <a:pt x="712" y="3245"/>
                  </a:cubicBezTo>
                  <a:cubicBezTo>
                    <a:pt x="690" y="3245"/>
                    <a:pt x="682" y="3282"/>
                    <a:pt x="652" y="3282"/>
                  </a:cubicBezTo>
                  <a:cubicBezTo>
                    <a:pt x="644" y="3282"/>
                    <a:pt x="637" y="3275"/>
                    <a:pt x="630" y="3267"/>
                  </a:cubicBezTo>
                  <a:cubicBezTo>
                    <a:pt x="615" y="3252"/>
                    <a:pt x="600" y="3252"/>
                    <a:pt x="592" y="3237"/>
                  </a:cubicBezTo>
                  <a:cubicBezTo>
                    <a:pt x="570" y="3252"/>
                    <a:pt x="562" y="3267"/>
                    <a:pt x="547" y="3290"/>
                  </a:cubicBezTo>
                  <a:cubicBezTo>
                    <a:pt x="517" y="3335"/>
                    <a:pt x="487" y="3365"/>
                    <a:pt x="435" y="3365"/>
                  </a:cubicBezTo>
                  <a:cubicBezTo>
                    <a:pt x="412" y="3365"/>
                    <a:pt x="397" y="3357"/>
                    <a:pt x="375" y="3350"/>
                  </a:cubicBezTo>
                  <a:cubicBezTo>
                    <a:pt x="352" y="3342"/>
                    <a:pt x="330" y="3320"/>
                    <a:pt x="330" y="3290"/>
                  </a:cubicBezTo>
                  <a:cubicBezTo>
                    <a:pt x="330" y="3260"/>
                    <a:pt x="307" y="3237"/>
                    <a:pt x="277" y="3237"/>
                  </a:cubicBezTo>
                  <a:cubicBezTo>
                    <a:pt x="255" y="3230"/>
                    <a:pt x="247" y="3230"/>
                    <a:pt x="232" y="3215"/>
                  </a:cubicBezTo>
                  <a:cubicBezTo>
                    <a:pt x="217" y="3208"/>
                    <a:pt x="217" y="3192"/>
                    <a:pt x="203" y="3192"/>
                  </a:cubicBezTo>
                  <a:cubicBezTo>
                    <a:pt x="173" y="3192"/>
                    <a:pt x="165" y="3230"/>
                    <a:pt x="143" y="3260"/>
                  </a:cubicBezTo>
                  <a:cubicBezTo>
                    <a:pt x="143" y="3260"/>
                    <a:pt x="135" y="3260"/>
                    <a:pt x="135" y="3267"/>
                  </a:cubicBezTo>
                  <a:cubicBezTo>
                    <a:pt x="105" y="3305"/>
                    <a:pt x="90" y="3327"/>
                    <a:pt x="60" y="3357"/>
                  </a:cubicBezTo>
                  <a:cubicBezTo>
                    <a:pt x="45" y="3327"/>
                    <a:pt x="38" y="3312"/>
                    <a:pt x="38" y="3282"/>
                  </a:cubicBezTo>
                  <a:cubicBezTo>
                    <a:pt x="38" y="3208"/>
                    <a:pt x="38" y="3208"/>
                    <a:pt x="38" y="3208"/>
                  </a:cubicBezTo>
                  <a:cubicBezTo>
                    <a:pt x="38" y="3170"/>
                    <a:pt x="38" y="3148"/>
                    <a:pt x="15" y="3118"/>
                  </a:cubicBezTo>
                  <a:cubicBezTo>
                    <a:pt x="8" y="3110"/>
                    <a:pt x="0" y="3110"/>
                    <a:pt x="0" y="3095"/>
                  </a:cubicBezTo>
                  <a:cubicBezTo>
                    <a:pt x="0" y="3072"/>
                    <a:pt x="15" y="3065"/>
                    <a:pt x="30" y="3050"/>
                  </a:cubicBezTo>
                  <a:cubicBezTo>
                    <a:pt x="45" y="3028"/>
                    <a:pt x="45" y="3013"/>
                    <a:pt x="60" y="2983"/>
                  </a:cubicBezTo>
                  <a:cubicBezTo>
                    <a:pt x="60" y="2975"/>
                    <a:pt x="75" y="2968"/>
                    <a:pt x="75" y="2953"/>
                  </a:cubicBezTo>
                  <a:cubicBezTo>
                    <a:pt x="75" y="2930"/>
                    <a:pt x="53" y="2915"/>
                    <a:pt x="38" y="2900"/>
                  </a:cubicBezTo>
                  <a:cubicBezTo>
                    <a:pt x="23" y="2893"/>
                    <a:pt x="15" y="2885"/>
                    <a:pt x="15" y="2878"/>
                  </a:cubicBezTo>
                  <a:cubicBezTo>
                    <a:pt x="15" y="2863"/>
                    <a:pt x="23" y="2863"/>
                    <a:pt x="23" y="2848"/>
                  </a:cubicBezTo>
                  <a:cubicBezTo>
                    <a:pt x="23" y="2833"/>
                    <a:pt x="8" y="2825"/>
                    <a:pt x="8" y="2810"/>
                  </a:cubicBezTo>
                  <a:cubicBezTo>
                    <a:pt x="8" y="2803"/>
                    <a:pt x="8" y="2795"/>
                    <a:pt x="8" y="2788"/>
                  </a:cubicBezTo>
                  <a:cubicBezTo>
                    <a:pt x="38" y="2788"/>
                    <a:pt x="60" y="2788"/>
                    <a:pt x="83" y="2773"/>
                  </a:cubicBezTo>
                  <a:cubicBezTo>
                    <a:pt x="90" y="2773"/>
                    <a:pt x="90" y="2765"/>
                    <a:pt x="97" y="2765"/>
                  </a:cubicBezTo>
                  <a:cubicBezTo>
                    <a:pt x="105" y="2758"/>
                    <a:pt x="113" y="2750"/>
                    <a:pt x="120" y="2750"/>
                  </a:cubicBezTo>
                  <a:cubicBezTo>
                    <a:pt x="143" y="2735"/>
                    <a:pt x="165" y="2750"/>
                    <a:pt x="180" y="2735"/>
                  </a:cubicBezTo>
                  <a:cubicBezTo>
                    <a:pt x="187" y="2735"/>
                    <a:pt x="180" y="2728"/>
                    <a:pt x="187" y="2720"/>
                  </a:cubicBezTo>
                  <a:cubicBezTo>
                    <a:pt x="165" y="2705"/>
                    <a:pt x="143" y="2705"/>
                    <a:pt x="120" y="2690"/>
                  </a:cubicBezTo>
                  <a:cubicBezTo>
                    <a:pt x="113" y="2690"/>
                    <a:pt x="165" y="2705"/>
                    <a:pt x="195" y="2705"/>
                  </a:cubicBezTo>
                  <a:cubicBezTo>
                    <a:pt x="210" y="2705"/>
                    <a:pt x="217" y="2698"/>
                    <a:pt x="232" y="2698"/>
                  </a:cubicBezTo>
                  <a:cubicBezTo>
                    <a:pt x="247" y="2698"/>
                    <a:pt x="255" y="2698"/>
                    <a:pt x="270" y="2713"/>
                  </a:cubicBezTo>
                  <a:cubicBezTo>
                    <a:pt x="270" y="2720"/>
                    <a:pt x="270" y="2728"/>
                    <a:pt x="277" y="2735"/>
                  </a:cubicBezTo>
                  <a:cubicBezTo>
                    <a:pt x="285" y="2735"/>
                    <a:pt x="292" y="2735"/>
                    <a:pt x="307" y="2735"/>
                  </a:cubicBezTo>
                  <a:cubicBezTo>
                    <a:pt x="315" y="2743"/>
                    <a:pt x="322" y="2750"/>
                    <a:pt x="330" y="2750"/>
                  </a:cubicBezTo>
                  <a:cubicBezTo>
                    <a:pt x="337" y="2750"/>
                    <a:pt x="345" y="2735"/>
                    <a:pt x="352" y="2728"/>
                  </a:cubicBezTo>
                  <a:cubicBezTo>
                    <a:pt x="352" y="2720"/>
                    <a:pt x="352" y="2713"/>
                    <a:pt x="352" y="2705"/>
                  </a:cubicBezTo>
                  <a:cubicBezTo>
                    <a:pt x="360" y="2698"/>
                    <a:pt x="360" y="2705"/>
                    <a:pt x="367" y="2698"/>
                  </a:cubicBezTo>
                  <a:cubicBezTo>
                    <a:pt x="382" y="2690"/>
                    <a:pt x="390" y="2690"/>
                    <a:pt x="405" y="2683"/>
                  </a:cubicBezTo>
                  <a:cubicBezTo>
                    <a:pt x="405" y="2698"/>
                    <a:pt x="405" y="2698"/>
                    <a:pt x="405" y="2698"/>
                  </a:cubicBezTo>
                  <a:cubicBezTo>
                    <a:pt x="390" y="2705"/>
                    <a:pt x="390" y="2713"/>
                    <a:pt x="375" y="2720"/>
                  </a:cubicBezTo>
                  <a:cubicBezTo>
                    <a:pt x="390" y="2735"/>
                    <a:pt x="412" y="2735"/>
                    <a:pt x="435" y="2735"/>
                  </a:cubicBezTo>
                  <a:cubicBezTo>
                    <a:pt x="472" y="2735"/>
                    <a:pt x="495" y="2720"/>
                    <a:pt x="525" y="2705"/>
                  </a:cubicBezTo>
                  <a:cubicBezTo>
                    <a:pt x="547" y="2698"/>
                    <a:pt x="562" y="2698"/>
                    <a:pt x="577" y="2690"/>
                  </a:cubicBezTo>
                  <a:cubicBezTo>
                    <a:pt x="592" y="2675"/>
                    <a:pt x="600" y="2668"/>
                    <a:pt x="615" y="2653"/>
                  </a:cubicBezTo>
                  <a:cubicBezTo>
                    <a:pt x="630" y="2638"/>
                    <a:pt x="644" y="2631"/>
                    <a:pt x="652" y="2615"/>
                  </a:cubicBezTo>
                  <a:cubicBezTo>
                    <a:pt x="667" y="2593"/>
                    <a:pt x="667" y="2578"/>
                    <a:pt x="667" y="2563"/>
                  </a:cubicBezTo>
                  <a:cubicBezTo>
                    <a:pt x="674" y="2555"/>
                    <a:pt x="667" y="2555"/>
                    <a:pt x="667" y="2548"/>
                  </a:cubicBezTo>
                  <a:cubicBezTo>
                    <a:pt x="682" y="2526"/>
                    <a:pt x="712" y="2533"/>
                    <a:pt x="734" y="2518"/>
                  </a:cubicBezTo>
                  <a:cubicBezTo>
                    <a:pt x="757" y="2496"/>
                    <a:pt x="764" y="2473"/>
                    <a:pt x="772" y="2443"/>
                  </a:cubicBezTo>
                  <a:cubicBezTo>
                    <a:pt x="779" y="2406"/>
                    <a:pt x="802" y="2383"/>
                    <a:pt x="839" y="2368"/>
                  </a:cubicBezTo>
                  <a:cubicBezTo>
                    <a:pt x="847" y="2368"/>
                    <a:pt x="854" y="2368"/>
                    <a:pt x="862" y="2368"/>
                  </a:cubicBezTo>
                  <a:cubicBezTo>
                    <a:pt x="877" y="2361"/>
                    <a:pt x="884" y="2346"/>
                    <a:pt x="899" y="2346"/>
                  </a:cubicBezTo>
                  <a:cubicBezTo>
                    <a:pt x="907" y="2346"/>
                    <a:pt x="914" y="2346"/>
                    <a:pt x="922" y="2346"/>
                  </a:cubicBezTo>
                  <a:cubicBezTo>
                    <a:pt x="967" y="2346"/>
                    <a:pt x="1004" y="2346"/>
                    <a:pt x="1049" y="2323"/>
                  </a:cubicBezTo>
                  <a:cubicBezTo>
                    <a:pt x="1064" y="2316"/>
                    <a:pt x="1072" y="2308"/>
                    <a:pt x="1087" y="2293"/>
                  </a:cubicBezTo>
                  <a:cubicBezTo>
                    <a:pt x="1102" y="2278"/>
                    <a:pt x="1117" y="2271"/>
                    <a:pt x="1124" y="2248"/>
                  </a:cubicBezTo>
                  <a:cubicBezTo>
                    <a:pt x="1132" y="2241"/>
                    <a:pt x="1124" y="2233"/>
                    <a:pt x="1132" y="2218"/>
                  </a:cubicBezTo>
                  <a:cubicBezTo>
                    <a:pt x="1139" y="2203"/>
                    <a:pt x="1147" y="2203"/>
                    <a:pt x="1162" y="2196"/>
                  </a:cubicBezTo>
                  <a:cubicBezTo>
                    <a:pt x="1177" y="2188"/>
                    <a:pt x="1192" y="2188"/>
                    <a:pt x="1199" y="2181"/>
                  </a:cubicBezTo>
                  <a:cubicBezTo>
                    <a:pt x="1214" y="2173"/>
                    <a:pt x="1214" y="2166"/>
                    <a:pt x="1222" y="2158"/>
                  </a:cubicBezTo>
                  <a:cubicBezTo>
                    <a:pt x="1244" y="2121"/>
                    <a:pt x="1267" y="2106"/>
                    <a:pt x="1304" y="2076"/>
                  </a:cubicBezTo>
                  <a:cubicBezTo>
                    <a:pt x="1327" y="2061"/>
                    <a:pt x="1334" y="2038"/>
                    <a:pt x="1356" y="2016"/>
                  </a:cubicBezTo>
                  <a:cubicBezTo>
                    <a:pt x="1379" y="1979"/>
                    <a:pt x="1409" y="1979"/>
                    <a:pt x="1432" y="1941"/>
                  </a:cubicBezTo>
                  <a:cubicBezTo>
                    <a:pt x="1439" y="1926"/>
                    <a:pt x="1454" y="1911"/>
                    <a:pt x="1462" y="1896"/>
                  </a:cubicBezTo>
                  <a:cubicBezTo>
                    <a:pt x="1476" y="1881"/>
                    <a:pt x="1492" y="1873"/>
                    <a:pt x="1514" y="1866"/>
                  </a:cubicBezTo>
                  <a:cubicBezTo>
                    <a:pt x="1536" y="1843"/>
                    <a:pt x="1559" y="1829"/>
                    <a:pt x="1589" y="1829"/>
                  </a:cubicBezTo>
                  <a:cubicBezTo>
                    <a:pt x="1596" y="1829"/>
                    <a:pt x="1596" y="1836"/>
                    <a:pt x="1604" y="1836"/>
                  </a:cubicBezTo>
                  <a:cubicBezTo>
                    <a:pt x="1619" y="1836"/>
                    <a:pt x="1626" y="1821"/>
                    <a:pt x="1626" y="1814"/>
                  </a:cubicBezTo>
                  <a:cubicBezTo>
                    <a:pt x="1634" y="1791"/>
                    <a:pt x="1641" y="1776"/>
                    <a:pt x="1649" y="1761"/>
                  </a:cubicBezTo>
                  <a:cubicBezTo>
                    <a:pt x="1656" y="1754"/>
                    <a:pt x="1664" y="1746"/>
                    <a:pt x="1679" y="1739"/>
                  </a:cubicBezTo>
                  <a:cubicBezTo>
                    <a:pt x="1694" y="1724"/>
                    <a:pt x="1701" y="1709"/>
                    <a:pt x="1716" y="1694"/>
                  </a:cubicBezTo>
                  <a:cubicBezTo>
                    <a:pt x="1739" y="1664"/>
                    <a:pt x="1746" y="1641"/>
                    <a:pt x="1769" y="1619"/>
                  </a:cubicBezTo>
                  <a:cubicBezTo>
                    <a:pt x="1784" y="1589"/>
                    <a:pt x="1806" y="1581"/>
                    <a:pt x="1829" y="1566"/>
                  </a:cubicBezTo>
                  <a:cubicBezTo>
                    <a:pt x="1889" y="1536"/>
                    <a:pt x="1919" y="1506"/>
                    <a:pt x="1971" y="1476"/>
                  </a:cubicBezTo>
                  <a:cubicBezTo>
                    <a:pt x="1993" y="1461"/>
                    <a:pt x="2009" y="1454"/>
                    <a:pt x="2023" y="1432"/>
                  </a:cubicBezTo>
                  <a:cubicBezTo>
                    <a:pt x="2046" y="1402"/>
                    <a:pt x="2061" y="1386"/>
                    <a:pt x="2061" y="1349"/>
                  </a:cubicBezTo>
                  <a:cubicBezTo>
                    <a:pt x="2061" y="1334"/>
                    <a:pt x="2061" y="1326"/>
                    <a:pt x="2053" y="1319"/>
                  </a:cubicBezTo>
                  <a:cubicBezTo>
                    <a:pt x="2039" y="1304"/>
                    <a:pt x="2023" y="1297"/>
                    <a:pt x="2009" y="1282"/>
                  </a:cubicBezTo>
                  <a:cubicBezTo>
                    <a:pt x="2016" y="1282"/>
                    <a:pt x="2016" y="1274"/>
                    <a:pt x="2023" y="1274"/>
                  </a:cubicBezTo>
                  <a:cubicBezTo>
                    <a:pt x="2031" y="1274"/>
                    <a:pt x="2039" y="1282"/>
                    <a:pt x="2053" y="1282"/>
                  </a:cubicBezTo>
                  <a:cubicBezTo>
                    <a:pt x="2076" y="1282"/>
                    <a:pt x="2091" y="1282"/>
                    <a:pt x="2106" y="1267"/>
                  </a:cubicBezTo>
                  <a:cubicBezTo>
                    <a:pt x="2121" y="1259"/>
                    <a:pt x="2121" y="1244"/>
                    <a:pt x="2128" y="1229"/>
                  </a:cubicBezTo>
                  <a:cubicBezTo>
                    <a:pt x="2136" y="1214"/>
                    <a:pt x="2143" y="1207"/>
                    <a:pt x="2158" y="1199"/>
                  </a:cubicBezTo>
                  <a:cubicBezTo>
                    <a:pt x="2196" y="1184"/>
                    <a:pt x="2218" y="1177"/>
                    <a:pt x="2248" y="1169"/>
                  </a:cubicBezTo>
                  <a:cubicBezTo>
                    <a:pt x="2263" y="1169"/>
                    <a:pt x="2271" y="1162"/>
                    <a:pt x="2278" y="1162"/>
                  </a:cubicBezTo>
                  <a:cubicBezTo>
                    <a:pt x="2353" y="1162"/>
                    <a:pt x="2353" y="1162"/>
                    <a:pt x="2353" y="1162"/>
                  </a:cubicBezTo>
                  <a:cubicBezTo>
                    <a:pt x="2361" y="1162"/>
                    <a:pt x="2368" y="1162"/>
                    <a:pt x="2376" y="1154"/>
                  </a:cubicBezTo>
                  <a:cubicBezTo>
                    <a:pt x="2391" y="1154"/>
                    <a:pt x="2398" y="1147"/>
                    <a:pt x="2413" y="1147"/>
                  </a:cubicBezTo>
                  <a:cubicBezTo>
                    <a:pt x="2466" y="1124"/>
                    <a:pt x="2488" y="1094"/>
                    <a:pt x="2526" y="1064"/>
                  </a:cubicBezTo>
                  <a:cubicBezTo>
                    <a:pt x="2548" y="1087"/>
                    <a:pt x="2578" y="1087"/>
                    <a:pt x="2615" y="1087"/>
                  </a:cubicBezTo>
                  <a:cubicBezTo>
                    <a:pt x="2645" y="1087"/>
                    <a:pt x="2661" y="1079"/>
                    <a:pt x="2691" y="1079"/>
                  </a:cubicBezTo>
                  <a:cubicBezTo>
                    <a:pt x="2713" y="1079"/>
                    <a:pt x="2728" y="1079"/>
                    <a:pt x="2758" y="1072"/>
                  </a:cubicBezTo>
                  <a:cubicBezTo>
                    <a:pt x="2735" y="1102"/>
                    <a:pt x="2713" y="1117"/>
                    <a:pt x="2713" y="1154"/>
                  </a:cubicBezTo>
                  <a:cubicBezTo>
                    <a:pt x="2713" y="1177"/>
                    <a:pt x="2720" y="1192"/>
                    <a:pt x="2735" y="1214"/>
                  </a:cubicBezTo>
                  <a:cubicBezTo>
                    <a:pt x="2751" y="1229"/>
                    <a:pt x="2758" y="1229"/>
                    <a:pt x="2765" y="1244"/>
                  </a:cubicBezTo>
                  <a:cubicBezTo>
                    <a:pt x="2788" y="1252"/>
                    <a:pt x="2795" y="1259"/>
                    <a:pt x="2818" y="1259"/>
                  </a:cubicBezTo>
                  <a:cubicBezTo>
                    <a:pt x="2833" y="1259"/>
                    <a:pt x="2840" y="1252"/>
                    <a:pt x="2855" y="1244"/>
                  </a:cubicBezTo>
                  <a:cubicBezTo>
                    <a:pt x="2878" y="1229"/>
                    <a:pt x="2893" y="1214"/>
                    <a:pt x="2915" y="1192"/>
                  </a:cubicBezTo>
                  <a:cubicBezTo>
                    <a:pt x="2938" y="1169"/>
                    <a:pt x="2945" y="1162"/>
                    <a:pt x="2960" y="1139"/>
                  </a:cubicBezTo>
                  <a:cubicBezTo>
                    <a:pt x="2975" y="1124"/>
                    <a:pt x="2983" y="1109"/>
                    <a:pt x="2998" y="1109"/>
                  </a:cubicBezTo>
                  <a:cubicBezTo>
                    <a:pt x="3013" y="1109"/>
                    <a:pt x="3013" y="1117"/>
                    <a:pt x="3020" y="1117"/>
                  </a:cubicBezTo>
                  <a:cubicBezTo>
                    <a:pt x="3028" y="1124"/>
                    <a:pt x="3035" y="1124"/>
                    <a:pt x="3043" y="1132"/>
                  </a:cubicBezTo>
                  <a:cubicBezTo>
                    <a:pt x="3080" y="1147"/>
                    <a:pt x="3103" y="1147"/>
                    <a:pt x="3148" y="1162"/>
                  </a:cubicBezTo>
                  <a:cubicBezTo>
                    <a:pt x="3170" y="1162"/>
                    <a:pt x="3185" y="1169"/>
                    <a:pt x="3208" y="1169"/>
                  </a:cubicBezTo>
                  <a:cubicBezTo>
                    <a:pt x="3238" y="1177"/>
                    <a:pt x="3260" y="1184"/>
                    <a:pt x="3290" y="1184"/>
                  </a:cubicBezTo>
                  <a:cubicBezTo>
                    <a:pt x="3335" y="1184"/>
                    <a:pt x="3365" y="1184"/>
                    <a:pt x="3410" y="1177"/>
                  </a:cubicBezTo>
                  <a:cubicBezTo>
                    <a:pt x="3440" y="1169"/>
                    <a:pt x="3455" y="1154"/>
                    <a:pt x="3485" y="1147"/>
                  </a:cubicBezTo>
                  <a:cubicBezTo>
                    <a:pt x="3507" y="1147"/>
                    <a:pt x="3522" y="1147"/>
                    <a:pt x="3552" y="1147"/>
                  </a:cubicBezTo>
                  <a:cubicBezTo>
                    <a:pt x="3605" y="1147"/>
                    <a:pt x="3635" y="1139"/>
                    <a:pt x="3687" y="1132"/>
                  </a:cubicBezTo>
                  <a:cubicBezTo>
                    <a:pt x="3710" y="1132"/>
                    <a:pt x="3725" y="1124"/>
                    <a:pt x="3740" y="1124"/>
                  </a:cubicBezTo>
                  <a:cubicBezTo>
                    <a:pt x="3792" y="1109"/>
                    <a:pt x="3822" y="1109"/>
                    <a:pt x="3867" y="1087"/>
                  </a:cubicBezTo>
                  <a:cubicBezTo>
                    <a:pt x="3875" y="1087"/>
                    <a:pt x="3882" y="1079"/>
                    <a:pt x="3890" y="1072"/>
                  </a:cubicBezTo>
                  <a:cubicBezTo>
                    <a:pt x="3920" y="1057"/>
                    <a:pt x="3934" y="1057"/>
                    <a:pt x="3957" y="1042"/>
                  </a:cubicBezTo>
                  <a:cubicBezTo>
                    <a:pt x="3972" y="1034"/>
                    <a:pt x="3972" y="1027"/>
                    <a:pt x="3987" y="1019"/>
                  </a:cubicBezTo>
                  <a:lnTo>
                    <a:pt x="3987" y="1019"/>
                  </a:lnTo>
                  <a:lnTo>
                    <a:pt x="3987" y="1019"/>
                  </a:lnTo>
                  <a:cubicBezTo>
                    <a:pt x="3994" y="1034"/>
                    <a:pt x="4002" y="1042"/>
                    <a:pt x="4010" y="1049"/>
                  </a:cubicBezTo>
                  <a:cubicBezTo>
                    <a:pt x="4024" y="1064"/>
                    <a:pt x="4032" y="1057"/>
                    <a:pt x="4040" y="1072"/>
                  </a:cubicBezTo>
                  <a:cubicBezTo>
                    <a:pt x="4047" y="1087"/>
                    <a:pt x="4040" y="1102"/>
                    <a:pt x="4047" y="1124"/>
                  </a:cubicBezTo>
                  <a:cubicBezTo>
                    <a:pt x="4032" y="1162"/>
                    <a:pt x="4032" y="1162"/>
                    <a:pt x="4032" y="1162"/>
                  </a:cubicBezTo>
                  <a:cubicBezTo>
                    <a:pt x="4047" y="1192"/>
                    <a:pt x="4054" y="1207"/>
                    <a:pt x="4062" y="1237"/>
                  </a:cubicBezTo>
                  <a:cubicBezTo>
                    <a:pt x="4062" y="1244"/>
                    <a:pt x="4062" y="1252"/>
                    <a:pt x="4069" y="1259"/>
                  </a:cubicBezTo>
                  <a:cubicBezTo>
                    <a:pt x="4077" y="1267"/>
                    <a:pt x="4099" y="1259"/>
                    <a:pt x="4107" y="1274"/>
                  </a:cubicBezTo>
                  <a:cubicBezTo>
                    <a:pt x="4107" y="1282"/>
                    <a:pt x="4099" y="1282"/>
                    <a:pt x="4099" y="1289"/>
                  </a:cubicBezTo>
                  <a:cubicBezTo>
                    <a:pt x="4099" y="1334"/>
                    <a:pt x="4099" y="1334"/>
                    <a:pt x="4099" y="1334"/>
                  </a:cubicBezTo>
                  <a:cubicBezTo>
                    <a:pt x="4099" y="1349"/>
                    <a:pt x="4114" y="1356"/>
                    <a:pt x="4122" y="1372"/>
                  </a:cubicBezTo>
                  <a:cubicBezTo>
                    <a:pt x="4129" y="1379"/>
                    <a:pt x="4129" y="1394"/>
                    <a:pt x="4129" y="1409"/>
                  </a:cubicBezTo>
                  <a:cubicBezTo>
                    <a:pt x="4129" y="1439"/>
                    <a:pt x="4144" y="1454"/>
                    <a:pt x="4144" y="1484"/>
                  </a:cubicBezTo>
                  <a:lnTo>
                    <a:pt x="4137" y="1491"/>
                  </a:lnTo>
                  <a:cubicBezTo>
                    <a:pt x="4129" y="1506"/>
                    <a:pt x="4122" y="1521"/>
                    <a:pt x="4107" y="1529"/>
                  </a:cubicBezTo>
                  <a:cubicBezTo>
                    <a:pt x="4107" y="1536"/>
                    <a:pt x="4099" y="1536"/>
                    <a:pt x="4099" y="1536"/>
                  </a:cubicBezTo>
                  <a:cubicBezTo>
                    <a:pt x="4084" y="1544"/>
                    <a:pt x="4077" y="1559"/>
                    <a:pt x="4062" y="1566"/>
                  </a:cubicBezTo>
                  <a:cubicBezTo>
                    <a:pt x="4047" y="1559"/>
                    <a:pt x="4047" y="1551"/>
                    <a:pt x="4040" y="154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133"/>
            <p:cNvSpPr>
              <a:spLocks noChangeArrowheads="1"/>
            </p:cNvSpPr>
            <p:nvPr/>
          </p:nvSpPr>
          <p:spPr bwMode="auto">
            <a:xfrm>
              <a:off x="3909898" y="9988403"/>
              <a:ext cx="1341235" cy="1084110"/>
            </a:xfrm>
            <a:custGeom>
              <a:avLst/>
              <a:gdLst>
                <a:gd name="T0" fmla="*/ 1207 w 3104"/>
                <a:gd name="T1" fmla="*/ 472 h 2511"/>
                <a:gd name="T2" fmla="*/ 1259 w 3104"/>
                <a:gd name="T3" fmla="*/ 479 h 2511"/>
                <a:gd name="T4" fmla="*/ 1207 w 3104"/>
                <a:gd name="T5" fmla="*/ 524 h 2511"/>
                <a:gd name="T6" fmla="*/ 1169 w 3104"/>
                <a:gd name="T7" fmla="*/ 554 h 2511"/>
                <a:gd name="T8" fmla="*/ 1237 w 3104"/>
                <a:gd name="T9" fmla="*/ 539 h 2511"/>
                <a:gd name="T10" fmla="*/ 675 w 3104"/>
                <a:gd name="T11" fmla="*/ 779 h 2511"/>
                <a:gd name="T12" fmla="*/ 757 w 3104"/>
                <a:gd name="T13" fmla="*/ 966 h 2511"/>
                <a:gd name="T14" fmla="*/ 929 w 3104"/>
                <a:gd name="T15" fmla="*/ 734 h 2511"/>
                <a:gd name="T16" fmla="*/ 1079 w 3104"/>
                <a:gd name="T17" fmla="*/ 614 h 2511"/>
                <a:gd name="T18" fmla="*/ 1222 w 3104"/>
                <a:gd name="T19" fmla="*/ 824 h 2511"/>
                <a:gd name="T20" fmla="*/ 1521 w 3104"/>
                <a:gd name="T21" fmla="*/ 786 h 2511"/>
                <a:gd name="T22" fmla="*/ 1769 w 3104"/>
                <a:gd name="T23" fmla="*/ 786 h 2511"/>
                <a:gd name="T24" fmla="*/ 1844 w 3104"/>
                <a:gd name="T25" fmla="*/ 532 h 2511"/>
                <a:gd name="T26" fmla="*/ 2001 w 3104"/>
                <a:gd name="T27" fmla="*/ 382 h 2511"/>
                <a:gd name="T28" fmla="*/ 2256 w 3104"/>
                <a:gd name="T29" fmla="*/ 254 h 2511"/>
                <a:gd name="T30" fmla="*/ 2436 w 3104"/>
                <a:gd name="T31" fmla="*/ 232 h 2511"/>
                <a:gd name="T32" fmla="*/ 2533 w 3104"/>
                <a:gd name="T33" fmla="*/ 292 h 2511"/>
                <a:gd name="T34" fmla="*/ 2646 w 3104"/>
                <a:gd name="T35" fmla="*/ 389 h 2511"/>
                <a:gd name="T36" fmla="*/ 2855 w 3104"/>
                <a:gd name="T37" fmla="*/ 457 h 2511"/>
                <a:gd name="T38" fmla="*/ 2960 w 3104"/>
                <a:gd name="T39" fmla="*/ 569 h 2511"/>
                <a:gd name="T40" fmla="*/ 2945 w 3104"/>
                <a:gd name="T41" fmla="*/ 756 h 2511"/>
                <a:gd name="T42" fmla="*/ 3043 w 3104"/>
                <a:gd name="T43" fmla="*/ 846 h 2511"/>
                <a:gd name="T44" fmla="*/ 3103 w 3104"/>
                <a:gd name="T45" fmla="*/ 1011 h 2511"/>
                <a:gd name="T46" fmla="*/ 2878 w 3104"/>
                <a:gd name="T47" fmla="*/ 1161 h 2511"/>
                <a:gd name="T48" fmla="*/ 2586 w 3104"/>
                <a:gd name="T49" fmla="*/ 1461 h 2511"/>
                <a:gd name="T50" fmla="*/ 2428 w 3104"/>
                <a:gd name="T51" fmla="*/ 1761 h 2511"/>
                <a:gd name="T52" fmla="*/ 2361 w 3104"/>
                <a:gd name="T53" fmla="*/ 1701 h 2511"/>
                <a:gd name="T54" fmla="*/ 2226 w 3104"/>
                <a:gd name="T55" fmla="*/ 1536 h 2511"/>
                <a:gd name="T56" fmla="*/ 2083 w 3104"/>
                <a:gd name="T57" fmla="*/ 1446 h 2511"/>
                <a:gd name="T58" fmla="*/ 1694 w 3104"/>
                <a:gd name="T59" fmla="*/ 1491 h 2511"/>
                <a:gd name="T60" fmla="*/ 1514 w 3104"/>
                <a:gd name="T61" fmla="*/ 1596 h 2511"/>
                <a:gd name="T62" fmla="*/ 1401 w 3104"/>
                <a:gd name="T63" fmla="*/ 1746 h 2511"/>
                <a:gd name="T64" fmla="*/ 1357 w 3104"/>
                <a:gd name="T65" fmla="*/ 1918 h 2511"/>
                <a:gd name="T66" fmla="*/ 1274 w 3104"/>
                <a:gd name="T67" fmla="*/ 2038 h 2511"/>
                <a:gd name="T68" fmla="*/ 1139 w 3104"/>
                <a:gd name="T69" fmla="*/ 2165 h 2511"/>
                <a:gd name="T70" fmla="*/ 1132 w 3104"/>
                <a:gd name="T71" fmla="*/ 2315 h 2511"/>
                <a:gd name="T72" fmla="*/ 1124 w 3104"/>
                <a:gd name="T73" fmla="*/ 2473 h 2511"/>
                <a:gd name="T74" fmla="*/ 1064 w 3104"/>
                <a:gd name="T75" fmla="*/ 2450 h 2511"/>
                <a:gd name="T76" fmla="*/ 862 w 3104"/>
                <a:gd name="T77" fmla="*/ 2487 h 2511"/>
                <a:gd name="T78" fmla="*/ 712 w 3104"/>
                <a:gd name="T79" fmla="*/ 2450 h 2511"/>
                <a:gd name="T80" fmla="*/ 645 w 3104"/>
                <a:gd name="T81" fmla="*/ 2255 h 2511"/>
                <a:gd name="T82" fmla="*/ 547 w 3104"/>
                <a:gd name="T83" fmla="*/ 2203 h 2511"/>
                <a:gd name="T84" fmla="*/ 502 w 3104"/>
                <a:gd name="T85" fmla="*/ 2068 h 2511"/>
                <a:gd name="T86" fmla="*/ 525 w 3104"/>
                <a:gd name="T87" fmla="*/ 1985 h 2511"/>
                <a:gd name="T88" fmla="*/ 502 w 3104"/>
                <a:gd name="T89" fmla="*/ 1911 h 2511"/>
                <a:gd name="T90" fmla="*/ 585 w 3104"/>
                <a:gd name="T91" fmla="*/ 1821 h 2511"/>
                <a:gd name="T92" fmla="*/ 532 w 3104"/>
                <a:gd name="T93" fmla="*/ 1761 h 2511"/>
                <a:gd name="T94" fmla="*/ 427 w 3104"/>
                <a:gd name="T95" fmla="*/ 1716 h 2511"/>
                <a:gd name="T96" fmla="*/ 427 w 3104"/>
                <a:gd name="T97" fmla="*/ 1566 h 2511"/>
                <a:gd name="T98" fmla="*/ 240 w 3104"/>
                <a:gd name="T99" fmla="*/ 1558 h 2511"/>
                <a:gd name="T100" fmla="*/ 105 w 3104"/>
                <a:gd name="T101" fmla="*/ 1618 h 2511"/>
                <a:gd name="T102" fmla="*/ 225 w 3104"/>
                <a:gd name="T103" fmla="*/ 1521 h 2511"/>
                <a:gd name="T104" fmla="*/ 450 w 3104"/>
                <a:gd name="T105" fmla="*/ 1386 h 2511"/>
                <a:gd name="T106" fmla="*/ 712 w 3104"/>
                <a:gd name="T107" fmla="*/ 1191 h 2511"/>
                <a:gd name="T108" fmla="*/ 757 w 3104"/>
                <a:gd name="T109" fmla="*/ 966 h 2511"/>
                <a:gd name="T110" fmla="*/ 2443 w 3104"/>
                <a:gd name="T111" fmla="*/ 105 h 2511"/>
                <a:gd name="T112" fmla="*/ 2526 w 3104"/>
                <a:gd name="T113" fmla="*/ 187 h 2511"/>
                <a:gd name="T114" fmla="*/ 2608 w 3104"/>
                <a:gd name="T115" fmla="*/ 157 h 2511"/>
                <a:gd name="T116" fmla="*/ 2660 w 3104"/>
                <a:gd name="T117" fmla="*/ 45 h 2511"/>
                <a:gd name="T118" fmla="*/ 2593 w 3104"/>
                <a:gd name="T119" fmla="*/ 7 h 2511"/>
                <a:gd name="T120" fmla="*/ 2458 w 3104"/>
                <a:gd name="T121" fmla="*/ 52 h 2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4" h="2511">
                  <a:moveTo>
                    <a:pt x="1237" y="449"/>
                  </a:moveTo>
                  <a:lnTo>
                    <a:pt x="1237" y="449"/>
                  </a:lnTo>
                  <a:cubicBezTo>
                    <a:pt x="1207" y="449"/>
                    <a:pt x="1207" y="449"/>
                    <a:pt x="1207" y="449"/>
                  </a:cubicBezTo>
                  <a:cubicBezTo>
                    <a:pt x="1207" y="457"/>
                    <a:pt x="1207" y="464"/>
                    <a:pt x="1207" y="472"/>
                  </a:cubicBezTo>
                  <a:cubicBezTo>
                    <a:pt x="1207" y="479"/>
                    <a:pt x="1207" y="487"/>
                    <a:pt x="1214" y="487"/>
                  </a:cubicBezTo>
                  <a:cubicBezTo>
                    <a:pt x="1222" y="494"/>
                    <a:pt x="1222" y="502"/>
                    <a:pt x="1229" y="502"/>
                  </a:cubicBezTo>
                  <a:cubicBezTo>
                    <a:pt x="1259" y="502"/>
                    <a:pt x="1259" y="502"/>
                    <a:pt x="1259" y="502"/>
                  </a:cubicBezTo>
                  <a:cubicBezTo>
                    <a:pt x="1259" y="494"/>
                    <a:pt x="1259" y="487"/>
                    <a:pt x="1259" y="479"/>
                  </a:cubicBezTo>
                  <a:cubicBezTo>
                    <a:pt x="1259" y="472"/>
                    <a:pt x="1252" y="472"/>
                    <a:pt x="1252" y="464"/>
                  </a:cubicBezTo>
                  <a:cubicBezTo>
                    <a:pt x="1244" y="457"/>
                    <a:pt x="1244" y="457"/>
                    <a:pt x="1237" y="449"/>
                  </a:cubicBezTo>
                  <a:close/>
                  <a:moveTo>
                    <a:pt x="1207" y="524"/>
                  </a:moveTo>
                  <a:lnTo>
                    <a:pt x="1207" y="524"/>
                  </a:lnTo>
                  <a:cubicBezTo>
                    <a:pt x="1207" y="517"/>
                    <a:pt x="1207" y="509"/>
                    <a:pt x="1199" y="502"/>
                  </a:cubicBezTo>
                  <a:cubicBezTo>
                    <a:pt x="1192" y="509"/>
                    <a:pt x="1184" y="509"/>
                    <a:pt x="1177" y="509"/>
                  </a:cubicBezTo>
                  <a:cubicBezTo>
                    <a:pt x="1169" y="517"/>
                    <a:pt x="1154" y="517"/>
                    <a:pt x="1154" y="524"/>
                  </a:cubicBezTo>
                  <a:cubicBezTo>
                    <a:pt x="1154" y="532"/>
                    <a:pt x="1169" y="539"/>
                    <a:pt x="1169" y="554"/>
                  </a:cubicBezTo>
                  <a:cubicBezTo>
                    <a:pt x="1169" y="562"/>
                    <a:pt x="1154" y="562"/>
                    <a:pt x="1154" y="576"/>
                  </a:cubicBezTo>
                  <a:cubicBezTo>
                    <a:pt x="1154" y="592"/>
                    <a:pt x="1154" y="592"/>
                    <a:pt x="1162" y="606"/>
                  </a:cubicBezTo>
                  <a:cubicBezTo>
                    <a:pt x="1177" y="599"/>
                    <a:pt x="1192" y="592"/>
                    <a:pt x="1207" y="569"/>
                  </a:cubicBezTo>
                  <a:cubicBezTo>
                    <a:pt x="1214" y="562"/>
                    <a:pt x="1229" y="554"/>
                    <a:pt x="1237" y="539"/>
                  </a:cubicBezTo>
                  <a:cubicBezTo>
                    <a:pt x="1222" y="539"/>
                    <a:pt x="1214" y="532"/>
                    <a:pt x="1207" y="524"/>
                  </a:cubicBezTo>
                  <a:close/>
                  <a:moveTo>
                    <a:pt x="705" y="771"/>
                  </a:moveTo>
                  <a:lnTo>
                    <a:pt x="705" y="771"/>
                  </a:lnTo>
                  <a:cubicBezTo>
                    <a:pt x="697" y="771"/>
                    <a:pt x="682" y="771"/>
                    <a:pt x="675" y="779"/>
                  </a:cubicBezTo>
                  <a:cubicBezTo>
                    <a:pt x="659" y="794"/>
                    <a:pt x="659" y="809"/>
                    <a:pt x="645" y="824"/>
                  </a:cubicBezTo>
                  <a:cubicBezTo>
                    <a:pt x="667" y="831"/>
                    <a:pt x="682" y="831"/>
                    <a:pt x="705" y="824"/>
                  </a:cubicBezTo>
                  <a:cubicBezTo>
                    <a:pt x="705" y="809"/>
                    <a:pt x="705" y="794"/>
                    <a:pt x="705" y="771"/>
                  </a:cubicBezTo>
                  <a:close/>
                  <a:moveTo>
                    <a:pt x="757" y="966"/>
                  </a:moveTo>
                  <a:lnTo>
                    <a:pt x="757" y="966"/>
                  </a:lnTo>
                  <a:cubicBezTo>
                    <a:pt x="757" y="936"/>
                    <a:pt x="787" y="944"/>
                    <a:pt x="809" y="921"/>
                  </a:cubicBezTo>
                  <a:cubicBezTo>
                    <a:pt x="824" y="906"/>
                    <a:pt x="824" y="884"/>
                    <a:pt x="832" y="861"/>
                  </a:cubicBezTo>
                  <a:cubicBezTo>
                    <a:pt x="847" y="794"/>
                    <a:pt x="892" y="779"/>
                    <a:pt x="929" y="734"/>
                  </a:cubicBezTo>
                  <a:cubicBezTo>
                    <a:pt x="967" y="696"/>
                    <a:pt x="1027" y="712"/>
                    <a:pt x="1049" y="666"/>
                  </a:cubicBezTo>
                  <a:cubicBezTo>
                    <a:pt x="1057" y="644"/>
                    <a:pt x="1049" y="629"/>
                    <a:pt x="1064" y="614"/>
                  </a:cubicBezTo>
                  <a:cubicBezTo>
                    <a:pt x="1064" y="614"/>
                    <a:pt x="1064" y="606"/>
                    <a:pt x="1064" y="599"/>
                  </a:cubicBezTo>
                  <a:cubicBezTo>
                    <a:pt x="1072" y="599"/>
                    <a:pt x="1079" y="606"/>
                    <a:pt x="1079" y="614"/>
                  </a:cubicBezTo>
                  <a:cubicBezTo>
                    <a:pt x="1094" y="622"/>
                    <a:pt x="1109" y="622"/>
                    <a:pt x="1117" y="636"/>
                  </a:cubicBezTo>
                  <a:cubicBezTo>
                    <a:pt x="1132" y="644"/>
                    <a:pt x="1132" y="659"/>
                    <a:pt x="1139" y="674"/>
                  </a:cubicBezTo>
                  <a:cubicBezTo>
                    <a:pt x="1162" y="712"/>
                    <a:pt x="1162" y="734"/>
                    <a:pt x="1177" y="771"/>
                  </a:cubicBezTo>
                  <a:cubicBezTo>
                    <a:pt x="1192" y="794"/>
                    <a:pt x="1207" y="809"/>
                    <a:pt x="1222" y="824"/>
                  </a:cubicBezTo>
                  <a:cubicBezTo>
                    <a:pt x="1237" y="831"/>
                    <a:pt x="1252" y="846"/>
                    <a:pt x="1267" y="846"/>
                  </a:cubicBezTo>
                  <a:cubicBezTo>
                    <a:pt x="1311" y="861"/>
                    <a:pt x="1349" y="861"/>
                    <a:pt x="1394" y="839"/>
                  </a:cubicBezTo>
                  <a:cubicBezTo>
                    <a:pt x="1416" y="824"/>
                    <a:pt x="1431" y="809"/>
                    <a:pt x="1454" y="801"/>
                  </a:cubicBezTo>
                  <a:cubicBezTo>
                    <a:pt x="1476" y="794"/>
                    <a:pt x="1491" y="786"/>
                    <a:pt x="1521" y="786"/>
                  </a:cubicBezTo>
                  <a:cubicBezTo>
                    <a:pt x="1581" y="786"/>
                    <a:pt x="1581" y="786"/>
                    <a:pt x="1581" y="786"/>
                  </a:cubicBezTo>
                  <a:cubicBezTo>
                    <a:pt x="1619" y="786"/>
                    <a:pt x="1634" y="809"/>
                    <a:pt x="1671" y="809"/>
                  </a:cubicBezTo>
                  <a:cubicBezTo>
                    <a:pt x="1686" y="809"/>
                    <a:pt x="1701" y="794"/>
                    <a:pt x="1716" y="794"/>
                  </a:cubicBezTo>
                  <a:cubicBezTo>
                    <a:pt x="1739" y="786"/>
                    <a:pt x="1746" y="794"/>
                    <a:pt x="1769" y="786"/>
                  </a:cubicBezTo>
                  <a:cubicBezTo>
                    <a:pt x="1784" y="786"/>
                    <a:pt x="1784" y="771"/>
                    <a:pt x="1791" y="771"/>
                  </a:cubicBezTo>
                  <a:cubicBezTo>
                    <a:pt x="1806" y="764"/>
                    <a:pt x="1814" y="756"/>
                    <a:pt x="1821" y="749"/>
                  </a:cubicBezTo>
                  <a:cubicBezTo>
                    <a:pt x="1844" y="704"/>
                    <a:pt x="1851" y="674"/>
                    <a:pt x="1851" y="622"/>
                  </a:cubicBezTo>
                  <a:cubicBezTo>
                    <a:pt x="1851" y="584"/>
                    <a:pt x="1844" y="569"/>
                    <a:pt x="1844" y="532"/>
                  </a:cubicBezTo>
                  <a:cubicBezTo>
                    <a:pt x="1844" y="509"/>
                    <a:pt x="1851" y="502"/>
                    <a:pt x="1859" y="479"/>
                  </a:cubicBezTo>
                  <a:cubicBezTo>
                    <a:pt x="1874" y="457"/>
                    <a:pt x="1888" y="442"/>
                    <a:pt x="1911" y="427"/>
                  </a:cubicBezTo>
                  <a:cubicBezTo>
                    <a:pt x="1926" y="419"/>
                    <a:pt x="1941" y="419"/>
                    <a:pt x="1964" y="404"/>
                  </a:cubicBezTo>
                  <a:cubicBezTo>
                    <a:pt x="1978" y="397"/>
                    <a:pt x="1986" y="389"/>
                    <a:pt x="2001" y="382"/>
                  </a:cubicBezTo>
                  <a:cubicBezTo>
                    <a:pt x="2016" y="374"/>
                    <a:pt x="2024" y="359"/>
                    <a:pt x="2038" y="352"/>
                  </a:cubicBezTo>
                  <a:cubicBezTo>
                    <a:pt x="2076" y="337"/>
                    <a:pt x="2106" y="337"/>
                    <a:pt x="2143" y="322"/>
                  </a:cubicBezTo>
                  <a:cubicBezTo>
                    <a:pt x="2166" y="314"/>
                    <a:pt x="2158" y="284"/>
                    <a:pt x="2158" y="254"/>
                  </a:cubicBezTo>
                  <a:cubicBezTo>
                    <a:pt x="2256" y="254"/>
                    <a:pt x="2256" y="254"/>
                    <a:pt x="2256" y="254"/>
                  </a:cubicBezTo>
                  <a:cubicBezTo>
                    <a:pt x="2286" y="254"/>
                    <a:pt x="2301" y="269"/>
                    <a:pt x="2331" y="269"/>
                  </a:cubicBezTo>
                  <a:cubicBezTo>
                    <a:pt x="2353" y="269"/>
                    <a:pt x="2368" y="262"/>
                    <a:pt x="2391" y="254"/>
                  </a:cubicBezTo>
                  <a:cubicBezTo>
                    <a:pt x="2398" y="247"/>
                    <a:pt x="2406" y="232"/>
                    <a:pt x="2413" y="232"/>
                  </a:cubicBezTo>
                  <a:cubicBezTo>
                    <a:pt x="2436" y="232"/>
                    <a:pt x="2436" y="232"/>
                    <a:pt x="2436" y="232"/>
                  </a:cubicBezTo>
                  <a:cubicBezTo>
                    <a:pt x="2436" y="262"/>
                    <a:pt x="2436" y="277"/>
                    <a:pt x="2436" y="299"/>
                  </a:cubicBezTo>
                  <a:cubicBezTo>
                    <a:pt x="2458" y="299"/>
                    <a:pt x="2473" y="307"/>
                    <a:pt x="2496" y="307"/>
                  </a:cubicBezTo>
                  <a:cubicBezTo>
                    <a:pt x="2511" y="307"/>
                    <a:pt x="2511" y="292"/>
                    <a:pt x="2518" y="292"/>
                  </a:cubicBezTo>
                  <a:cubicBezTo>
                    <a:pt x="2518" y="284"/>
                    <a:pt x="2526" y="292"/>
                    <a:pt x="2533" y="292"/>
                  </a:cubicBezTo>
                  <a:cubicBezTo>
                    <a:pt x="2533" y="299"/>
                    <a:pt x="2533" y="307"/>
                    <a:pt x="2541" y="314"/>
                  </a:cubicBezTo>
                  <a:cubicBezTo>
                    <a:pt x="2541" y="322"/>
                    <a:pt x="2541" y="329"/>
                    <a:pt x="2548" y="337"/>
                  </a:cubicBezTo>
                  <a:cubicBezTo>
                    <a:pt x="2548" y="344"/>
                    <a:pt x="2563" y="344"/>
                    <a:pt x="2571" y="344"/>
                  </a:cubicBezTo>
                  <a:cubicBezTo>
                    <a:pt x="2600" y="352"/>
                    <a:pt x="2623" y="367"/>
                    <a:pt x="2646" y="389"/>
                  </a:cubicBezTo>
                  <a:cubicBezTo>
                    <a:pt x="2668" y="412"/>
                    <a:pt x="2690" y="419"/>
                    <a:pt x="2720" y="427"/>
                  </a:cubicBezTo>
                  <a:cubicBezTo>
                    <a:pt x="2758" y="427"/>
                    <a:pt x="2765" y="472"/>
                    <a:pt x="2803" y="472"/>
                  </a:cubicBezTo>
                  <a:cubicBezTo>
                    <a:pt x="2818" y="472"/>
                    <a:pt x="2825" y="472"/>
                    <a:pt x="2840" y="464"/>
                  </a:cubicBezTo>
                  <a:cubicBezTo>
                    <a:pt x="2848" y="464"/>
                    <a:pt x="2848" y="457"/>
                    <a:pt x="2855" y="457"/>
                  </a:cubicBezTo>
                  <a:cubicBezTo>
                    <a:pt x="2953" y="457"/>
                    <a:pt x="2953" y="457"/>
                    <a:pt x="2953" y="457"/>
                  </a:cubicBezTo>
                  <a:cubicBezTo>
                    <a:pt x="2960" y="464"/>
                    <a:pt x="2960" y="472"/>
                    <a:pt x="2960" y="479"/>
                  </a:cubicBezTo>
                  <a:cubicBezTo>
                    <a:pt x="2960" y="494"/>
                    <a:pt x="2953" y="502"/>
                    <a:pt x="2953" y="517"/>
                  </a:cubicBezTo>
                  <a:cubicBezTo>
                    <a:pt x="2953" y="539"/>
                    <a:pt x="2953" y="547"/>
                    <a:pt x="2960" y="569"/>
                  </a:cubicBezTo>
                  <a:cubicBezTo>
                    <a:pt x="2960" y="576"/>
                    <a:pt x="2968" y="584"/>
                    <a:pt x="2968" y="599"/>
                  </a:cubicBezTo>
                  <a:cubicBezTo>
                    <a:pt x="2968" y="614"/>
                    <a:pt x="2960" y="629"/>
                    <a:pt x="2953" y="644"/>
                  </a:cubicBezTo>
                  <a:cubicBezTo>
                    <a:pt x="2953" y="666"/>
                    <a:pt x="2960" y="674"/>
                    <a:pt x="2953" y="696"/>
                  </a:cubicBezTo>
                  <a:cubicBezTo>
                    <a:pt x="2953" y="719"/>
                    <a:pt x="2945" y="734"/>
                    <a:pt x="2945" y="756"/>
                  </a:cubicBezTo>
                  <a:cubicBezTo>
                    <a:pt x="2945" y="771"/>
                    <a:pt x="2945" y="801"/>
                    <a:pt x="2968" y="801"/>
                  </a:cubicBezTo>
                  <a:cubicBezTo>
                    <a:pt x="2983" y="801"/>
                    <a:pt x="2983" y="779"/>
                    <a:pt x="3005" y="779"/>
                  </a:cubicBezTo>
                  <a:cubicBezTo>
                    <a:pt x="3020" y="779"/>
                    <a:pt x="3020" y="809"/>
                    <a:pt x="3028" y="824"/>
                  </a:cubicBezTo>
                  <a:cubicBezTo>
                    <a:pt x="3028" y="831"/>
                    <a:pt x="3035" y="839"/>
                    <a:pt x="3043" y="846"/>
                  </a:cubicBezTo>
                  <a:cubicBezTo>
                    <a:pt x="3043" y="854"/>
                    <a:pt x="3058" y="861"/>
                    <a:pt x="3058" y="869"/>
                  </a:cubicBezTo>
                  <a:cubicBezTo>
                    <a:pt x="3058" y="914"/>
                    <a:pt x="2998" y="929"/>
                    <a:pt x="2998" y="974"/>
                  </a:cubicBezTo>
                  <a:cubicBezTo>
                    <a:pt x="2998" y="989"/>
                    <a:pt x="3020" y="981"/>
                    <a:pt x="3043" y="989"/>
                  </a:cubicBezTo>
                  <a:cubicBezTo>
                    <a:pt x="3065" y="996"/>
                    <a:pt x="3080" y="1004"/>
                    <a:pt x="3103" y="1011"/>
                  </a:cubicBezTo>
                  <a:cubicBezTo>
                    <a:pt x="3080" y="1026"/>
                    <a:pt x="3065" y="1034"/>
                    <a:pt x="3043" y="1049"/>
                  </a:cubicBezTo>
                  <a:cubicBezTo>
                    <a:pt x="3035" y="1056"/>
                    <a:pt x="3035" y="1056"/>
                    <a:pt x="3028" y="1064"/>
                  </a:cubicBezTo>
                  <a:cubicBezTo>
                    <a:pt x="2990" y="1094"/>
                    <a:pt x="2960" y="1109"/>
                    <a:pt x="2915" y="1139"/>
                  </a:cubicBezTo>
                  <a:cubicBezTo>
                    <a:pt x="2908" y="1146"/>
                    <a:pt x="2893" y="1154"/>
                    <a:pt x="2878" y="1161"/>
                  </a:cubicBezTo>
                  <a:cubicBezTo>
                    <a:pt x="2863" y="1176"/>
                    <a:pt x="2855" y="1191"/>
                    <a:pt x="2833" y="1206"/>
                  </a:cubicBezTo>
                  <a:cubicBezTo>
                    <a:pt x="2803" y="1236"/>
                    <a:pt x="2773" y="1244"/>
                    <a:pt x="2743" y="1274"/>
                  </a:cubicBezTo>
                  <a:cubicBezTo>
                    <a:pt x="2713" y="1304"/>
                    <a:pt x="2698" y="1318"/>
                    <a:pt x="2668" y="1341"/>
                  </a:cubicBezTo>
                  <a:cubicBezTo>
                    <a:pt x="2616" y="1371"/>
                    <a:pt x="2608" y="1408"/>
                    <a:pt x="2586" y="1461"/>
                  </a:cubicBezTo>
                  <a:cubicBezTo>
                    <a:pt x="2563" y="1498"/>
                    <a:pt x="2541" y="1521"/>
                    <a:pt x="2533" y="1558"/>
                  </a:cubicBezTo>
                  <a:cubicBezTo>
                    <a:pt x="2526" y="1581"/>
                    <a:pt x="2518" y="1588"/>
                    <a:pt x="2511" y="1611"/>
                  </a:cubicBezTo>
                  <a:cubicBezTo>
                    <a:pt x="2488" y="1686"/>
                    <a:pt x="2473" y="1731"/>
                    <a:pt x="2458" y="1805"/>
                  </a:cubicBezTo>
                  <a:cubicBezTo>
                    <a:pt x="2443" y="1791"/>
                    <a:pt x="2443" y="1776"/>
                    <a:pt x="2428" y="1761"/>
                  </a:cubicBezTo>
                  <a:cubicBezTo>
                    <a:pt x="2421" y="1746"/>
                    <a:pt x="2413" y="1738"/>
                    <a:pt x="2406" y="1738"/>
                  </a:cubicBezTo>
                  <a:cubicBezTo>
                    <a:pt x="2398" y="1731"/>
                    <a:pt x="2383" y="1738"/>
                    <a:pt x="2376" y="1731"/>
                  </a:cubicBezTo>
                  <a:cubicBezTo>
                    <a:pt x="2368" y="1723"/>
                    <a:pt x="2376" y="1716"/>
                    <a:pt x="2368" y="1708"/>
                  </a:cubicBezTo>
                  <a:cubicBezTo>
                    <a:pt x="2368" y="1701"/>
                    <a:pt x="2361" y="1701"/>
                    <a:pt x="2361" y="1701"/>
                  </a:cubicBezTo>
                  <a:cubicBezTo>
                    <a:pt x="2353" y="1686"/>
                    <a:pt x="2353" y="1678"/>
                    <a:pt x="2346" y="1671"/>
                  </a:cubicBezTo>
                  <a:cubicBezTo>
                    <a:pt x="2323" y="1641"/>
                    <a:pt x="2301" y="1633"/>
                    <a:pt x="2286" y="1603"/>
                  </a:cubicBezTo>
                  <a:cubicBezTo>
                    <a:pt x="2286" y="1596"/>
                    <a:pt x="2286" y="1581"/>
                    <a:pt x="2286" y="1573"/>
                  </a:cubicBezTo>
                  <a:cubicBezTo>
                    <a:pt x="2271" y="1551"/>
                    <a:pt x="2248" y="1543"/>
                    <a:pt x="2226" y="1536"/>
                  </a:cubicBezTo>
                  <a:cubicBezTo>
                    <a:pt x="2211" y="1528"/>
                    <a:pt x="2196" y="1528"/>
                    <a:pt x="2188" y="1521"/>
                  </a:cubicBezTo>
                  <a:cubicBezTo>
                    <a:pt x="2181" y="1506"/>
                    <a:pt x="2181" y="1491"/>
                    <a:pt x="2173" y="1483"/>
                  </a:cubicBezTo>
                  <a:cubicBezTo>
                    <a:pt x="2158" y="1461"/>
                    <a:pt x="2136" y="1468"/>
                    <a:pt x="2113" y="1453"/>
                  </a:cubicBezTo>
                  <a:cubicBezTo>
                    <a:pt x="2098" y="1453"/>
                    <a:pt x="2091" y="1446"/>
                    <a:pt x="2083" y="1446"/>
                  </a:cubicBezTo>
                  <a:cubicBezTo>
                    <a:pt x="2068" y="1438"/>
                    <a:pt x="2053" y="1431"/>
                    <a:pt x="2038" y="1431"/>
                  </a:cubicBezTo>
                  <a:cubicBezTo>
                    <a:pt x="1986" y="1416"/>
                    <a:pt x="1956" y="1416"/>
                    <a:pt x="1904" y="1416"/>
                  </a:cubicBezTo>
                  <a:cubicBezTo>
                    <a:pt x="1859" y="1416"/>
                    <a:pt x="1836" y="1408"/>
                    <a:pt x="1799" y="1423"/>
                  </a:cubicBezTo>
                  <a:cubicBezTo>
                    <a:pt x="1754" y="1446"/>
                    <a:pt x="1739" y="1476"/>
                    <a:pt x="1694" y="1491"/>
                  </a:cubicBezTo>
                  <a:cubicBezTo>
                    <a:pt x="1679" y="1498"/>
                    <a:pt x="1664" y="1506"/>
                    <a:pt x="1649" y="1513"/>
                  </a:cubicBezTo>
                  <a:cubicBezTo>
                    <a:pt x="1626" y="1521"/>
                    <a:pt x="1611" y="1521"/>
                    <a:pt x="1596" y="1528"/>
                  </a:cubicBezTo>
                  <a:cubicBezTo>
                    <a:pt x="1574" y="1536"/>
                    <a:pt x="1559" y="1543"/>
                    <a:pt x="1544" y="1558"/>
                  </a:cubicBezTo>
                  <a:cubicBezTo>
                    <a:pt x="1529" y="1573"/>
                    <a:pt x="1521" y="1581"/>
                    <a:pt x="1514" y="1596"/>
                  </a:cubicBezTo>
                  <a:cubicBezTo>
                    <a:pt x="1506" y="1611"/>
                    <a:pt x="1506" y="1626"/>
                    <a:pt x="1499" y="1626"/>
                  </a:cubicBezTo>
                  <a:cubicBezTo>
                    <a:pt x="1484" y="1626"/>
                    <a:pt x="1476" y="1611"/>
                    <a:pt x="1461" y="1611"/>
                  </a:cubicBezTo>
                  <a:cubicBezTo>
                    <a:pt x="1454" y="1611"/>
                    <a:pt x="1447" y="1611"/>
                    <a:pt x="1439" y="1611"/>
                  </a:cubicBezTo>
                  <a:cubicBezTo>
                    <a:pt x="1439" y="1663"/>
                    <a:pt x="1401" y="1693"/>
                    <a:pt x="1401" y="1746"/>
                  </a:cubicBezTo>
                  <a:cubicBezTo>
                    <a:pt x="1401" y="1776"/>
                    <a:pt x="1416" y="1791"/>
                    <a:pt x="1416" y="1828"/>
                  </a:cubicBezTo>
                  <a:cubicBezTo>
                    <a:pt x="1416" y="1851"/>
                    <a:pt x="1401" y="1858"/>
                    <a:pt x="1387" y="1873"/>
                  </a:cubicBezTo>
                  <a:cubicBezTo>
                    <a:pt x="1379" y="1888"/>
                    <a:pt x="1387" y="1903"/>
                    <a:pt x="1379" y="1911"/>
                  </a:cubicBezTo>
                  <a:cubicBezTo>
                    <a:pt x="1371" y="1918"/>
                    <a:pt x="1364" y="1918"/>
                    <a:pt x="1357" y="1918"/>
                  </a:cubicBezTo>
                  <a:cubicBezTo>
                    <a:pt x="1349" y="1918"/>
                    <a:pt x="1349" y="1911"/>
                    <a:pt x="1341" y="1903"/>
                  </a:cubicBezTo>
                  <a:cubicBezTo>
                    <a:pt x="1334" y="1948"/>
                    <a:pt x="1319" y="1970"/>
                    <a:pt x="1296" y="2008"/>
                  </a:cubicBezTo>
                  <a:cubicBezTo>
                    <a:pt x="1296" y="2015"/>
                    <a:pt x="1289" y="2023"/>
                    <a:pt x="1289" y="2030"/>
                  </a:cubicBezTo>
                  <a:cubicBezTo>
                    <a:pt x="1282" y="2038"/>
                    <a:pt x="1274" y="2038"/>
                    <a:pt x="1274" y="2038"/>
                  </a:cubicBezTo>
                  <a:cubicBezTo>
                    <a:pt x="1252" y="2068"/>
                    <a:pt x="1237" y="2083"/>
                    <a:pt x="1214" y="2113"/>
                  </a:cubicBezTo>
                  <a:cubicBezTo>
                    <a:pt x="1207" y="2105"/>
                    <a:pt x="1199" y="2098"/>
                    <a:pt x="1177" y="2098"/>
                  </a:cubicBezTo>
                  <a:cubicBezTo>
                    <a:pt x="1169" y="2098"/>
                    <a:pt x="1169" y="2105"/>
                    <a:pt x="1162" y="2113"/>
                  </a:cubicBezTo>
                  <a:cubicBezTo>
                    <a:pt x="1147" y="2135"/>
                    <a:pt x="1147" y="2143"/>
                    <a:pt x="1139" y="2165"/>
                  </a:cubicBezTo>
                  <a:cubicBezTo>
                    <a:pt x="1132" y="2180"/>
                    <a:pt x="1132" y="2188"/>
                    <a:pt x="1132" y="2203"/>
                  </a:cubicBezTo>
                  <a:cubicBezTo>
                    <a:pt x="1132" y="2218"/>
                    <a:pt x="1124" y="2225"/>
                    <a:pt x="1124" y="2240"/>
                  </a:cubicBezTo>
                  <a:cubicBezTo>
                    <a:pt x="1124" y="2263"/>
                    <a:pt x="1139" y="2270"/>
                    <a:pt x="1139" y="2293"/>
                  </a:cubicBezTo>
                  <a:cubicBezTo>
                    <a:pt x="1139" y="2300"/>
                    <a:pt x="1132" y="2308"/>
                    <a:pt x="1132" y="2315"/>
                  </a:cubicBezTo>
                  <a:cubicBezTo>
                    <a:pt x="1117" y="2315"/>
                    <a:pt x="1102" y="2323"/>
                    <a:pt x="1087" y="2315"/>
                  </a:cubicBezTo>
                  <a:cubicBezTo>
                    <a:pt x="1087" y="2345"/>
                    <a:pt x="1079" y="2360"/>
                    <a:pt x="1079" y="2390"/>
                  </a:cubicBezTo>
                  <a:cubicBezTo>
                    <a:pt x="1079" y="2413"/>
                    <a:pt x="1109" y="2413"/>
                    <a:pt x="1117" y="2435"/>
                  </a:cubicBezTo>
                  <a:cubicBezTo>
                    <a:pt x="1124" y="2450"/>
                    <a:pt x="1124" y="2458"/>
                    <a:pt x="1124" y="2473"/>
                  </a:cubicBezTo>
                  <a:cubicBezTo>
                    <a:pt x="1132" y="2487"/>
                    <a:pt x="1139" y="2487"/>
                    <a:pt x="1139" y="2503"/>
                  </a:cubicBezTo>
                  <a:lnTo>
                    <a:pt x="1132" y="2510"/>
                  </a:lnTo>
                  <a:cubicBezTo>
                    <a:pt x="1117" y="2503"/>
                    <a:pt x="1102" y="2503"/>
                    <a:pt x="1094" y="2487"/>
                  </a:cubicBezTo>
                  <a:cubicBezTo>
                    <a:pt x="1079" y="2480"/>
                    <a:pt x="1079" y="2458"/>
                    <a:pt x="1064" y="2450"/>
                  </a:cubicBezTo>
                  <a:cubicBezTo>
                    <a:pt x="1049" y="2443"/>
                    <a:pt x="1034" y="2443"/>
                    <a:pt x="1012" y="2443"/>
                  </a:cubicBezTo>
                  <a:cubicBezTo>
                    <a:pt x="974" y="2443"/>
                    <a:pt x="944" y="2450"/>
                    <a:pt x="914" y="2473"/>
                  </a:cubicBezTo>
                  <a:cubicBezTo>
                    <a:pt x="899" y="2480"/>
                    <a:pt x="892" y="2487"/>
                    <a:pt x="877" y="2487"/>
                  </a:cubicBezTo>
                  <a:cubicBezTo>
                    <a:pt x="869" y="2487"/>
                    <a:pt x="869" y="2487"/>
                    <a:pt x="862" y="2487"/>
                  </a:cubicBezTo>
                  <a:cubicBezTo>
                    <a:pt x="839" y="2473"/>
                    <a:pt x="832" y="2465"/>
                    <a:pt x="817" y="2450"/>
                  </a:cubicBezTo>
                  <a:cubicBezTo>
                    <a:pt x="817" y="2450"/>
                    <a:pt x="809" y="2450"/>
                    <a:pt x="802" y="2450"/>
                  </a:cubicBezTo>
                  <a:cubicBezTo>
                    <a:pt x="794" y="2443"/>
                    <a:pt x="794" y="2420"/>
                    <a:pt x="787" y="2420"/>
                  </a:cubicBezTo>
                  <a:cubicBezTo>
                    <a:pt x="757" y="2420"/>
                    <a:pt x="742" y="2450"/>
                    <a:pt x="712" y="2450"/>
                  </a:cubicBezTo>
                  <a:cubicBezTo>
                    <a:pt x="705" y="2450"/>
                    <a:pt x="705" y="2443"/>
                    <a:pt x="697" y="2443"/>
                  </a:cubicBezTo>
                  <a:cubicBezTo>
                    <a:pt x="742" y="2383"/>
                    <a:pt x="742" y="2338"/>
                    <a:pt x="787" y="2278"/>
                  </a:cubicBezTo>
                  <a:cubicBezTo>
                    <a:pt x="772" y="2263"/>
                    <a:pt x="757" y="2255"/>
                    <a:pt x="742" y="2255"/>
                  </a:cubicBezTo>
                  <a:cubicBezTo>
                    <a:pt x="645" y="2255"/>
                    <a:pt x="645" y="2255"/>
                    <a:pt x="645" y="2255"/>
                  </a:cubicBezTo>
                  <a:cubicBezTo>
                    <a:pt x="629" y="2248"/>
                    <a:pt x="622" y="2233"/>
                    <a:pt x="607" y="2225"/>
                  </a:cubicBezTo>
                  <a:cubicBezTo>
                    <a:pt x="599" y="2225"/>
                    <a:pt x="599" y="2218"/>
                    <a:pt x="592" y="2218"/>
                  </a:cubicBezTo>
                  <a:cubicBezTo>
                    <a:pt x="577" y="2218"/>
                    <a:pt x="562" y="2225"/>
                    <a:pt x="555" y="2218"/>
                  </a:cubicBezTo>
                  <a:cubicBezTo>
                    <a:pt x="547" y="2218"/>
                    <a:pt x="555" y="2210"/>
                    <a:pt x="547" y="2203"/>
                  </a:cubicBezTo>
                  <a:cubicBezTo>
                    <a:pt x="547" y="2203"/>
                    <a:pt x="540" y="2203"/>
                    <a:pt x="540" y="2195"/>
                  </a:cubicBezTo>
                  <a:cubicBezTo>
                    <a:pt x="540" y="2188"/>
                    <a:pt x="547" y="2188"/>
                    <a:pt x="547" y="2180"/>
                  </a:cubicBezTo>
                  <a:cubicBezTo>
                    <a:pt x="570" y="2180"/>
                    <a:pt x="570" y="2180"/>
                    <a:pt x="570" y="2180"/>
                  </a:cubicBezTo>
                  <a:cubicBezTo>
                    <a:pt x="547" y="2135"/>
                    <a:pt x="532" y="2113"/>
                    <a:pt x="502" y="2068"/>
                  </a:cubicBezTo>
                  <a:cubicBezTo>
                    <a:pt x="510" y="2068"/>
                    <a:pt x="517" y="2060"/>
                    <a:pt x="525" y="2053"/>
                  </a:cubicBezTo>
                  <a:cubicBezTo>
                    <a:pt x="517" y="2053"/>
                    <a:pt x="510" y="2053"/>
                    <a:pt x="510" y="2045"/>
                  </a:cubicBezTo>
                  <a:cubicBezTo>
                    <a:pt x="510" y="2030"/>
                    <a:pt x="517" y="2023"/>
                    <a:pt x="525" y="2008"/>
                  </a:cubicBezTo>
                  <a:cubicBezTo>
                    <a:pt x="525" y="2000"/>
                    <a:pt x="525" y="1993"/>
                    <a:pt x="525" y="1985"/>
                  </a:cubicBezTo>
                  <a:cubicBezTo>
                    <a:pt x="525" y="1978"/>
                    <a:pt x="540" y="1978"/>
                    <a:pt x="540" y="1970"/>
                  </a:cubicBezTo>
                  <a:cubicBezTo>
                    <a:pt x="540" y="1955"/>
                    <a:pt x="510" y="1948"/>
                    <a:pt x="487" y="1948"/>
                  </a:cubicBezTo>
                  <a:cubicBezTo>
                    <a:pt x="495" y="1948"/>
                    <a:pt x="487" y="1941"/>
                    <a:pt x="487" y="1941"/>
                  </a:cubicBezTo>
                  <a:cubicBezTo>
                    <a:pt x="495" y="1933"/>
                    <a:pt x="502" y="1925"/>
                    <a:pt x="502" y="1911"/>
                  </a:cubicBezTo>
                  <a:cubicBezTo>
                    <a:pt x="502" y="1903"/>
                    <a:pt x="502" y="1895"/>
                    <a:pt x="495" y="1888"/>
                  </a:cubicBezTo>
                  <a:cubicBezTo>
                    <a:pt x="517" y="1895"/>
                    <a:pt x="532" y="1903"/>
                    <a:pt x="555" y="1911"/>
                  </a:cubicBezTo>
                  <a:cubicBezTo>
                    <a:pt x="562" y="1895"/>
                    <a:pt x="555" y="1881"/>
                    <a:pt x="555" y="1865"/>
                  </a:cubicBezTo>
                  <a:cubicBezTo>
                    <a:pt x="562" y="1843"/>
                    <a:pt x="585" y="1835"/>
                    <a:pt x="585" y="1821"/>
                  </a:cubicBezTo>
                  <a:cubicBezTo>
                    <a:pt x="585" y="1813"/>
                    <a:pt x="585" y="1805"/>
                    <a:pt x="585" y="1805"/>
                  </a:cubicBezTo>
                  <a:cubicBezTo>
                    <a:pt x="577" y="1798"/>
                    <a:pt x="570" y="1805"/>
                    <a:pt x="570" y="1798"/>
                  </a:cubicBezTo>
                  <a:cubicBezTo>
                    <a:pt x="562" y="1791"/>
                    <a:pt x="562" y="1783"/>
                    <a:pt x="555" y="1776"/>
                  </a:cubicBezTo>
                  <a:cubicBezTo>
                    <a:pt x="547" y="1768"/>
                    <a:pt x="540" y="1768"/>
                    <a:pt x="532" y="1761"/>
                  </a:cubicBezTo>
                  <a:cubicBezTo>
                    <a:pt x="540" y="1746"/>
                    <a:pt x="547" y="1738"/>
                    <a:pt x="547" y="1723"/>
                  </a:cubicBezTo>
                  <a:cubicBezTo>
                    <a:pt x="540" y="1723"/>
                    <a:pt x="532" y="1716"/>
                    <a:pt x="525" y="1716"/>
                  </a:cubicBezTo>
                  <a:cubicBezTo>
                    <a:pt x="510" y="1716"/>
                    <a:pt x="502" y="1723"/>
                    <a:pt x="487" y="1723"/>
                  </a:cubicBezTo>
                  <a:cubicBezTo>
                    <a:pt x="465" y="1723"/>
                    <a:pt x="450" y="1716"/>
                    <a:pt x="427" y="1716"/>
                  </a:cubicBezTo>
                  <a:cubicBezTo>
                    <a:pt x="427" y="1678"/>
                    <a:pt x="427" y="1678"/>
                    <a:pt x="427" y="1678"/>
                  </a:cubicBezTo>
                  <a:cubicBezTo>
                    <a:pt x="427" y="1663"/>
                    <a:pt x="435" y="1648"/>
                    <a:pt x="450" y="1633"/>
                  </a:cubicBezTo>
                  <a:cubicBezTo>
                    <a:pt x="435" y="1633"/>
                    <a:pt x="420" y="1626"/>
                    <a:pt x="420" y="1611"/>
                  </a:cubicBezTo>
                  <a:cubicBezTo>
                    <a:pt x="420" y="1596"/>
                    <a:pt x="427" y="1581"/>
                    <a:pt x="427" y="1566"/>
                  </a:cubicBezTo>
                  <a:cubicBezTo>
                    <a:pt x="427" y="1543"/>
                    <a:pt x="412" y="1536"/>
                    <a:pt x="412" y="1513"/>
                  </a:cubicBezTo>
                  <a:cubicBezTo>
                    <a:pt x="360" y="1513"/>
                    <a:pt x="360" y="1513"/>
                    <a:pt x="360" y="1513"/>
                  </a:cubicBezTo>
                  <a:cubicBezTo>
                    <a:pt x="345" y="1513"/>
                    <a:pt x="330" y="1521"/>
                    <a:pt x="307" y="1528"/>
                  </a:cubicBezTo>
                  <a:cubicBezTo>
                    <a:pt x="285" y="1536"/>
                    <a:pt x="262" y="1543"/>
                    <a:pt x="240" y="1558"/>
                  </a:cubicBezTo>
                  <a:cubicBezTo>
                    <a:pt x="225" y="1566"/>
                    <a:pt x="210" y="1573"/>
                    <a:pt x="195" y="1588"/>
                  </a:cubicBezTo>
                  <a:cubicBezTo>
                    <a:pt x="180" y="1596"/>
                    <a:pt x="172" y="1596"/>
                    <a:pt x="158" y="1611"/>
                  </a:cubicBezTo>
                  <a:cubicBezTo>
                    <a:pt x="142" y="1611"/>
                    <a:pt x="142" y="1626"/>
                    <a:pt x="128" y="1626"/>
                  </a:cubicBezTo>
                  <a:cubicBezTo>
                    <a:pt x="120" y="1626"/>
                    <a:pt x="120" y="1618"/>
                    <a:pt x="105" y="1618"/>
                  </a:cubicBezTo>
                  <a:cubicBezTo>
                    <a:pt x="90" y="1618"/>
                    <a:pt x="82" y="1626"/>
                    <a:pt x="68" y="1633"/>
                  </a:cubicBezTo>
                  <a:cubicBezTo>
                    <a:pt x="52" y="1641"/>
                    <a:pt x="0" y="1663"/>
                    <a:pt x="23" y="1633"/>
                  </a:cubicBezTo>
                  <a:cubicBezTo>
                    <a:pt x="45" y="1603"/>
                    <a:pt x="68" y="1596"/>
                    <a:pt x="105" y="1581"/>
                  </a:cubicBezTo>
                  <a:cubicBezTo>
                    <a:pt x="150" y="1551"/>
                    <a:pt x="180" y="1536"/>
                    <a:pt x="225" y="1521"/>
                  </a:cubicBezTo>
                  <a:cubicBezTo>
                    <a:pt x="262" y="1506"/>
                    <a:pt x="285" y="1491"/>
                    <a:pt x="315" y="1476"/>
                  </a:cubicBezTo>
                  <a:cubicBezTo>
                    <a:pt x="345" y="1461"/>
                    <a:pt x="367" y="1453"/>
                    <a:pt x="405" y="1438"/>
                  </a:cubicBezTo>
                  <a:cubicBezTo>
                    <a:pt x="405" y="1431"/>
                    <a:pt x="412" y="1423"/>
                    <a:pt x="412" y="1423"/>
                  </a:cubicBezTo>
                  <a:cubicBezTo>
                    <a:pt x="427" y="1408"/>
                    <a:pt x="435" y="1401"/>
                    <a:pt x="450" y="1386"/>
                  </a:cubicBezTo>
                  <a:cubicBezTo>
                    <a:pt x="465" y="1371"/>
                    <a:pt x="480" y="1364"/>
                    <a:pt x="495" y="1341"/>
                  </a:cubicBezTo>
                  <a:cubicBezTo>
                    <a:pt x="510" y="1318"/>
                    <a:pt x="517" y="1311"/>
                    <a:pt x="540" y="1296"/>
                  </a:cubicBezTo>
                  <a:cubicBezTo>
                    <a:pt x="585" y="1274"/>
                    <a:pt x="615" y="1266"/>
                    <a:pt x="652" y="1236"/>
                  </a:cubicBezTo>
                  <a:cubicBezTo>
                    <a:pt x="675" y="1221"/>
                    <a:pt x="689" y="1214"/>
                    <a:pt x="712" y="1191"/>
                  </a:cubicBezTo>
                  <a:cubicBezTo>
                    <a:pt x="727" y="1161"/>
                    <a:pt x="742" y="1154"/>
                    <a:pt x="757" y="1124"/>
                  </a:cubicBezTo>
                  <a:cubicBezTo>
                    <a:pt x="757" y="1109"/>
                    <a:pt x="757" y="1094"/>
                    <a:pt x="757" y="1071"/>
                  </a:cubicBezTo>
                  <a:cubicBezTo>
                    <a:pt x="764" y="1049"/>
                    <a:pt x="764" y="1041"/>
                    <a:pt x="764" y="1019"/>
                  </a:cubicBezTo>
                  <a:cubicBezTo>
                    <a:pt x="764" y="996"/>
                    <a:pt x="757" y="989"/>
                    <a:pt x="757" y="966"/>
                  </a:cubicBezTo>
                  <a:close/>
                  <a:moveTo>
                    <a:pt x="2458" y="52"/>
                  </a:moveTo>
                  <a:lnTo>
                    <a:pt x="2458" y="52"/>
                  </a:lnTo>
                  <a:cubicBezTo>
                    <a:pt x="2458" y="59"/>
                    <a:pt x="2466" y="59"/>
                    <a:pt x="2466" y="67"/>
                  </a:cubicBezTo>
                  <a:cubicBezTo>
                    <a:pt x="2466" y="82"/>
                    <a:pt x="2451" y="89"/>
                    <a:pt x="2443" y="105"/>
                  </a:cubicBezTo>
                  <a:cubicBezTo>
                    <a:pt x="2458" y="105"/>
                    <a:pt x="2466" y="97"/>
                    <a:pt x="2481" y="97"/>
                  </a:cubicBezTo>
                  <a:cubicBezTo>
                    <a:pt x="2496" y="97"/>
                    <a:pt x="2518" y="105"/>
                    <a:pt x="2518" y="119"/>
                  </a:cubicBezTo>
                  <a:cubicBezTo>
                    <a:pt x="2518" y="142"/>
                    <a:pt x="2518" y="157"/>
                    <a:pt x="2518" y="187"/>
                  </a:cubicBezTo>
                  <a:cubicBezTo>
                    <a:pt x="2526" y="187"/>
                    <a:pt x="2526" y="187"/>
                    <a:pt x="2526" y="187"/>
                  </a:cubicBezTo>
                  <a:cubicBezTo>
                    <a:pt x="2533" y="157"/>
                    <a:pt x="2541" y="142"/>
                    <a:pt x="2571" y="127"/>
                  </a:cubicBezTo>
                  <a:cubicBezTo>
                    <a:pt x="2578" y="127"/>
                    <a:pt x="2578" y="119"/>
                    <a:pt x="2586" y="119"/>
                  </a:cubicBezTo>
                  <a:cubicBezTo>
                    <a:pt x="2593" y="119"/>
                    <a:pt x="2600" y="127"/>
                    <a:pt x="2608" y="135"/>
                  </a:cubicBezTo>
                  <a:cubicBezTo>
                    <a:pt x="2608" y="142"/>
                    <a:pt x="2608" y="149"/>
                    <a:pt x="2608" y="157"/>
                  </a:cubicBezTo>
                  <a:cubicBezTo>
                    <a:pt x="2616" y="165"/>
                    <a:pt x="2616" y="172"/>
                    <a:pt x="2630" y="172"/>
                  </a:cubicBezTo>
                  <a:cubicBezTo>
                    <a:pt x="2630" y="172"/>
                    <a:pt x="2630" y="172"/>
                    <a:pt x="2638" y="172"/>
                  </a:cubicBezTo>
                  <a:cubicBezTo>
                    <a:pt x="2638" y="135"/>
                    <a:pt x="2646" y="119"/>
                    <a:pt x="2653" y="82"/>
                  </a:cubicBezTo>
                  <a:cubicBezTo>
                    <a:pt x="2653" y="67"/>
                    <a:pt x="2660" y="59"/>
                    <a:pt x="2660" y="45"/>
                  </a:cubicBezTo>
                  <a:cubicBezTo>
                    <a:pt x="2660" y="30"/>
                    <a:pt x="2660" y="30"/>
                    <a:pt x="2653" y="15"/>
                  </a:cubicBezTo>
                  <a:lnTo>
                    <a:pt x="2653" y="7"/>
                  </a:lnTo>
                  <a:cubicBezTo>
                    <a:pt x="2646" y="0"/>
                    <a:pt x="2646" y="0"/>
                    <a:pt x="2638" y="0"/>
                  </a:cubicBezTo>
                  <a:cubicBezTo>
                    <a:pt x="2616" y="0"/>
                    <a:pt x="2608" y="7"/>
                    <a:pt x="2593" y="7"/>
                  </a:cubicBezTo>
                  <a:cubicBezTo>
                    <a:pt x="2586" y="15"/>
                    <a:pt x="2578" y="15"/>
                    <a:pt x="2571" y="15"/>
                  </a:cubicBezTo>
                  <a:cubicBezTo>
                    <a:pt x="2548" y="22"/>
                    <a:pt x="2533" y="22"/>
                    <a:pt x="2518" y="30"/>
                  </a:cubicBezTo>
                  <a:cubicBezTo>
                    <a:pt x="2503" y="37"/>
                    <a:pt x="2496" y="45"/>
                    <a:pt x="2481" y="45"/>
                  </a:cubicBezTo>
                  <a:cubicBezTo>
                    <a:pt x="2473" y="45"/>
                    <a:pt x="2458" y="45"/>
                    <a:pt x="2458" y="5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134"/>
            <p:cNvSpPr>
              <a:spLocks noChangeArrowheads="1"/>
            </p:cNvSpPr>
            <p:nvPr/>
          </p:nvSpPr>
          <p:spPr bwMode="auto">
            <a:xfrm>
              <a:off x="5012988" y="9262490"/>
              <a:ext cx="1305038" cy="1375618"/>
            </a:xfrm>
            <a:custGeom>
              <a:avLst/>
              <a:gdLst>
                <a:gd name="T0" fmla="*/ 472 w 3021"/>
                <a:gd name="T1" fmla="*/ 2076 h 3186"/>
                <a:gd name="T2" fmla="*/ 554 w 3021"/>
                <a:gd name="T3" fmla="*/ 2188 h 3186"/>
                <a:gd name="T4" fmla="*/ 786 w 3021"/>
                <a:gd name="T5" fmla="*/ 2076 h 3186"/>
                <a:gd name="T6" fmla="*/ 749 w 3021"/>
                <a:gd name="T7" fmla="*/ 1896 h 3186"/>
                <a:gd name="T8" fmla="*/ 846 w 3021"/>
                <a:gd name="T9" fmla="*/ 1724 h 3186"/>
                <a:gd name="T10" fmla="*/ 779 w 3021"/>
                <a:gd name="T11" fmla="*/ 1686 h 3186"/>
                <a:gd name="T12" fmla="*/ 621 w 3021"/>
                <a:gd name="T13" fmla="*/ 1828 h 3186"/>
                <a:gd name="T14" fmla="*/ 487 w 3021"/>
                <a:gd name="T15" fmla="*/ 2001 h 3186"/>
                <a:gd name="T16" fmla="*/ 292 w 3021"/>
                <a:gd name="T17" fmla="*/ 157 h 3186"/>
                <a:gd name="T18" fmla="*/ 584 w 3021"/>
                <a:gd name="T19" fmla="*/ 127 h 3186"/>
                <a:gd name="T20" fmla="*/ 824 w 3021"/>
                <a:gd name="T21" fmla="*/ 120 h 3186"/>
                <a:gd name="T22" fmla="*/ 1041 w 3021"/>
                <a:gd name="T23" fmla="*/ 15 h 3186"/>
                <a:gd name="T24" fmla="*/ 1056 w 3021"/>
                <a:gd name="T25" fmla="*/ 307 h 3186"/>
                <a:gd name="T26" fmla="*/ 1289 w 3021"/>
                <a:gd name="T27" fmla="*/ 292 h 3186"/>
                <a:gd name="T28" fmla="*/ 1378 w 3021"/>
                <a:gd name="T29" fmla="*/ 427 h 3186"/>
                <a:gd name="T30" fmla="*/ 1611 w 3021"/>
                <a:gd name="T31" fmla="*/ 577 h 3186"/>
                <a:gd name="T32" fmla="*/ 1806 w 3021"/>
                <a:gd name="T33" fmla="*/ 480 h 3186"/>
                <a:gd name="T34" fmla="*/ 1896 w 3021"/>
                <a:gd name="T35" fmla="*/ 375 h 3186"/>
                <a:gd name="T36" fmla="*/ 2038 w 3021"/>
                <a:gd name="T37" fmla="*/ 330 h 3186"/>
                <a:gd name="T38" fmla="*/ 2210 w 3021"/>
                <a:gd name="T39" fmla="*/ 217 h 3186"/>
                <a:gd name="T40" fmla="*/ 2263 w 3021"/>
                <a:gd name="T41" fmla="*/ 127 h 3186"/>
                <a:gd name="T42" fmla="*/ 2353 w 3021"/>
                <a:gd name="T43" fmla="*/ 225 h 3186"/>
                <a:gd name="T44" fmla="*/ 2458 w 3021"/>
                <a:gd name="T45" fmla="*/ 465 h 3186"/>
                <a:gd name="T46" fmla="*/ 2458 w 3021"/>
                <a:gd name="T47" fmla="*/ 734 h 3186"/>
                <a:gd name="T48" fmla="*/ 2668 w 3021"/>
                <a:gd name="T49" fmla="*/ 817 h 3186"/>
                <a:gd name="T50" fmla="*/ 2810 w 3021"/>
                <a:gd name="T51" fmla="*/ 967 h 3186"/>
                <a:gd name="T52" fmla="*/ 2757 w 3021"/>
                <a:gd name="T53" fmla="*/ 1034 h 3186"/>
                <a:gd name="T54" fmla="*/ 2570 w 3021"/>
                <a:gd name="T55" fmla="*/ 1461 h 3186"/>
                <a:gd name="T56" fmla="*/ 2765 w 3021"/>
                <a:gd name="T57" fmla="*/ 1671 h 3186"/>
                <a:gd name="T58" fmla="*/ 3012 w 3021"/>
                <a:gd name="T59" fmla="*/ 1933 h 3186"/>
                <a:gd name="T60" fmla="*/ 2922 w 3021"/>
                <a:gd name="T61" fmla="*/ 2038 h 3186"/>
                <a:gd name="T62" fmla="*/ 2585 w 3021"/>
                <a:gd name="T63" fmla="*/ 2091 h 3186"/>
                <a:gd name="T64" fmla="*/ 2360 w 3021"/>
                <a:gd name="T65" fmla="*/ 2203 h 3186"/>
                <a:gd name="T66" fmla="*/ 2240 w 3021"/>
                <a:gd name="T67" fmla="*/ 2323 h 3186"/>
                <a:gd name="T68" fmla="*/ 2210 w 3021"/>
                <a:gd name="T69" fmla="*/ 2533 h 3186"/>
                <a:gd name="T70" fmla="*/ 2023 w 3021"/>
                <a:gd name="T71" fmla="*/ 2773 h 3186"/>
                <a:gd name="T72" fmla="*/ 1806 w 3021"/>
                <a:gd name="T73" fmla="*/ 3117 h 3186"/>
                <a:gd name="T74" fmla="*/ 1349 w 3021"/>
                <a:gd name="T75" fmla="*/ 3043 h 3186"/>
                <a:gd name="T76" fmla="*/ 1311 w 3021"/>
                <a:gd name="T77" fmla="*/ 2848 h 3186"/>
                <a:gd name="T78" fmla="*/ 981 w 3021"/>
                <a:gd name="T79" fmla="*/ 2600 h 3186"/>
                <a:gd name="T80" fmla="*/ 959 w 3021"/>
                <a:gd name="T81" fmla="*/ 2345 h 3186"/>
                <a:gd name="T82" fmla="*/ 944 w 3021"/>
                <a:gd name="T83" fmla="*/ 2083 h 3186"/>
                <a:gd name="T84" fmla="*/ 1236 w 3021"/>
                <a:gd name="T85" fmla="*/ 1821 h 3186"/>
                <a:gd name="T86" fmla="*/ 1296 w 3021"/>
                <a:gd name="T87" fmla="*/ 1521 h 3186"/>
                <a:gd name="T88" fmla="*/ 959 w 3021"/>
                <a:gd name="T89" fmla="*/ 1574 h 3186"/>
                <a:gd name="T90" fmla="*/ 727 w 3021"/>
                <a:gd name="T91" fmla="*/ 1506 h 3186"/>
                <a:gd name="T92" fmla="*/ 329 w 3021"/>
                <a:gd name="T93" fmla="*/ 1379 h 3186"/>
                <a:gd name="T94" fmla="*/ 82 w 3021"/>
                <a:gd name="T95" fmla="*/ 1454 h 3186"/>
                <a:gd name="T96" fmla="*/ 15 w 3021"/>
                <a:gd name="T97" fmla="*/ 1304 h 3186"/>
                <a:gd name="T98" fmla="*/ 15 w 3021"/>
                <a:gd name="T99" fmla="*/ 1049 h 3186"/>
                <a:gd name="T100" fmla="*/ 172 w 3021"/>
                <a:gd name="T101" fmla="*/ 832 h 3186"/>
                <a:gd name="T102" fmla="*/ 180 w 3021"/>
                <a:gd name="T103" fmla="*/ 727 h 3186"/>
                <a:gd name="T104" fmla="*/ 269 w 3021"/>
                <a:gd name="T105" fmla="*/ 592 h 3186"/>
                <a:gd name="T106" fmla="*/ 202 w 3021"/>
                <a:gd name="T107" fmla="*/ 420 h 3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21" h="3186">
                  <a:moveTo>
                    <a:pt x="472" y="2016"/>
                  </a:moveTo>
                  <a:lnTo>
                    <a:pt x="472" y="2016"/>
                  </a:lnTo>
                  <a:cubicBezTo>
                    <a:pt x="479" y="2023"/>
                    <a:pt x="479" y="2023"/>
                    <a:pt x="479" y="2023"/>
                  </a:cubicBezTo>
                  <a:cubicBezTo>
                    <a:pt x="472" y="2038"/>
                    <a:pt x="464" y="2046"/>
                    <a:pt x="464" y="2053"/>
                  </a:cubicBezTo>
                  <a:lnTo>
                    <a:pt x="464" y="2061"/>
                  </a:lnTo>
                  <a:cubicBezTo>
                    <a:pt x="464" y="2068"/>
                    <a:pt x="464" y="2068"/>
                    <a:pt x="472" y="2076"/>
                  </a:cubicBezTo>
                  <a:cubicBezTo>
                    <a:pt x="479" y="2083"/>
                    <a:pt x="479" y="2091"/>
                    <a:pt x="487" y="2106"/>
                  </a:cubicBezTo>
                  <a:cubicBezTo>
                    <a:pt x="494" y="2113"/>
                    <a:pt x="502" y="2121"/>
                    <a:pt x="509" y="2136"/>
                  </a:cubicBezTo>
                  <a:cubicBezTo>
                    <a:pt x="517" y="2143"/>
                    <a:pt x="517" y="2143"/>
                    <a:pt x="524" y="2151"/>
                  </a:cubicBezTo>
                  <a:cubicBezTo>
                    <a:pt x="524" y="2158"/>
                    <a:pt x="532" y="2166"/>
                    <a:pt x="539" y="2173"/>
                  </a:cubicBezTo>
                  <a:cubicBezTo>
                    <a:pt x="547" y="2173"/>
                    <a:pt x="547" y="2181"/>
                    <a:pt x="547" y="2188"/>
                  </a:cubicBezTo>
                  <a:cubicBezTo>
                    <a:pt x="554" y="2188"/>
                    <a:pt x="554" y="2188"/>
                    <a:pt x="554" y="2188"/>
                  </a:cubicBezTo>
                  <a:cubicBezTo>
                    <a:pt x="577" y="2188"/>
                    <a:pt x="592" y="2181"/>
                    <a:pt x="614" y="2173"/>
                  </a:cubicBezTo>
                  <a:cubicBezTo>
                    <a:pt x="629" y="2173"/>
                    <a:pt x="637" y="2166"/>
                    <a:pt x="651" y="2158"/>
                  </a:cubicBezTo>
                  <a:cubicBezTo>
                    <a:pt x="659" y="2151"/>
                    <a:pt x="667" y="2151"/>
                    <a:pt x="674" y="2143"/>
                  </a:cubicBezTo>
                  <a:cubicBezTo>
                    <a:pt x="689" y="2128"/>
                    <a:pt x="711" y="2121"/>
                    <a:pt x="734" y="2113"/>
                  </a:cubicBezTo>
                  <a:cubicBezTo>
                    <a:pt x="741" y="2106"/>
                    <a:pt x="741" y="2106"/>
                    <a:pt x="756" y="2098"/>
                  </a:cubicBezTo>
                  <a:cubicBezTo>
                    <a:pt x="771" y="2091"/>
                    <a:pt x="779" y="2091"/>
                    <a:pt x="786" y="2076"/>
                  </a:cubicBezTo>
                  <a:cubicBezTo>
                    <a:pt x="779" y="2076"/>
                    <a:pt x="771" y="2068"/>
                    <a:pt x="771" y="2053"/>
                  </a:cubicBezTo>
                  <a:cubicBezTo>
                    <a:pt x="764" y="2038"/>
                    <a:pt x="756" y="2031"/>
                    <a:pt x="756" y="2016"/>
                  </a:cubicBezTo>
                  <a:cubicBezTo>
                    <a:pt x="749" y="2001"/>
                    <a:pt x="749" y="1993"/>
                    <a:pt x="749" y="1978"/>
                  </a:cubicBezTo>
                  <a:cubicBezTo>
                    <a:pt x="741" y="1971"/>
                    <a:pt x="741" y="1963"/>
                    <a:pt x="741" y="1948"/>
                  </a:cubicBezTo>
                  <a:cubicBezTo>
                    <a:pt x="741" y="1918"/>
                    <a:pt x="741" y="1918"/>
                    <a:pt x="741" y="1918"/>
                  </a:cubicBezTo>
                  <a:cubicBezTo>
                    <a:pt x="741" y="1903"/>
                    <a:pt x="741" y="1903"/>
                    <a:pt x="749" y="1896"/>
                  </a:cubicBezTo>
                  <a:cubicBezTo>
                    <a:pt x="749" y="1888"/>
                    <a:pt x="749" y="1881"/>
                    <a:pt x="756" y="1881"/>
                  </a:cubicBezTo>
                  <a:cubicBezTo>
                    <a:pt x="756" y="1866"/>
                    <a:pt x="756" y="1858"/>
                    <a:pt x="764" y="1851"/>
                  </a:cubicBezTo>
                  <a:cubicBezTo>
                    <a:pt x="771" y="1844"/>
                    <a:pt x="779" y="1844"/>
                    <a:pt x="786" y="1836"/>
                  </a:cubicBezTo>
                  <a:cubicBezTo>
                    <a:pt x="801" y="1821"/>
                    <a:pt x="809" y="1806"/>
                    <a:pt x="816" y="1791"/>
                  </a:cubicBezTo>
                  <a:cubicBezTo>
                    <a:pt x="824" y="1776"/>
                    <a:pt x="831" y="1768"/>
                    <a:pt x="839" y="1754"/>
                  </a:cubicBezTo>
                  <a:cubicBezTo>
                    <a:pt x="846" y="1738"/>
                    <a:pt x="846" y="1731"/>
                    <a:pt x="846" y="1724"/>
                  </a:cubicBezTo>
                  <a:cubicBezTo>
                    <a:pt x="854" y="1701"/>
                    <a:pt x="861" y="1694"/>
                    <a:pt x="869" y="1679"/>
                  </a:cubicBezTo>
                  <a:cubicBezTo>
                    <a:pt x="876" y="1679"/>
                    <a:pt x="876" y="1671"/>
                    <a:pt x="876" y="1664"/>
                  </a:cubicBezTo>
                  <a:cubicBezTo>
                    <a:pt x="876" y="1656"/>
                    <a:pt x="869" y="1649"/>
                    <a:pt x="861" y="1634"/>
                  </a:cubicBezTo>
                  <a:cubicBezTo>
                    <a:pt x="854" y="1626"/>
                    <a:pt x="839" y="1619"/>
                    <a:pt x="831" y="1626"/>
                  </a:cubicBezTo>
                  <a:cubicBezTo>
                    <a:pt x="824" y="1634"/>
                    <a:pt x="824" y="1641"/>
                    <a:pt x="816" y="1649"/>
                  </a:cubicBezTo>
                  <a:cubicBezTo>
                    <a:pt x="801" y="1664"/>
                    <a:pt x="794" y="1671"/>
                    <a:pt x="779" y="1686"/>
                  </a:cubicBezTo>
                  <a:cubicBezTo>
                    <a:pt x="771" y="1694"/>
                    <a:pt x="764" y="1701"/>
                    <a:pt x="756" y="1709"/>
                  </a:cubicBezTo>
                  <a:cubicBezTo>
                    <a:pt x="741" y="1724"/>
                    <a:pt x="734" y="1731"/>
                    <a:pt x="711" y="1746"/>
                  </a:cubicBezTo>
                  <a:lnTo>
                    <a:pt x="704" y="1754"/>
                  </a:lnTo>
                  <a:cubicBezTo>
                    <a:pt x="681" y="1768"/>
                    <a:pt x="681" y="1784"/>
                    <a:pt x="659" y="1798"/>
                  </a:cubicBezTo>
                  <a:cubicBezTo>
                    <a:pt x="651" y="1806"/>
                    <a:pt x="644" y="1806"/>
                    <a:pt x="629" y="1814"/>
                  </a:cubicBezTo>
                  <a:cubicBezTo>
                    <a:pt x="621" y="1814"/>
                    <a:pt x="621" y="1821"/>
                    <a:pt x="621" y="1828"/>
                  </a:cubicBezTo>
                  <a:cubicBezTo>
                    <a:pt x="614" y="1844"/>
                    <a:pt x="607" y="1851"/>
                    <a:pt x="599" y="1866"/>
                  </a:cubicBezTo>
                  <a:cubicBezTo>
                    <a:pt x="584" y="1888"/>
                    <a:pt x="577" y="1896"/>
                    <a:pt x="569" y="1911"/>
                  </a:cubicBezTo>
                  <a:cubicBezTo>
                    <a:pt x="554" y="1941"/>
                    <a:pt x="554" y="1956"/>
                    <a:pt x="532" y="1978"/>
                  </a:cubicBezTo>
                  <a:cubicBezTo>
                    <a:pt x="532" y="1986"/>
                    <a:pt x="524" y="1993"/>
                    <a:pt x="517" y="1993"/>
                  </a:cubicBezTo>
                  <a:cubicBezTo>
                    <a:pt x="509" y="2001"/>
                    <a:pt x="509" y="2008"/>
                    <a:pt x="502" y="2008"/>
                  </a:cubicBezTo>
                  <a:cubicBezTo>
                    <a:pt x="494" y="2008"/>
                    <a:pt x="494" y="2001"/>
                    <a:pt x="487" y="2001"/>
                  </a:cubicBezTo>
                  <a:cubicBezTo>
                    <a:pt x="479" y="2008"/>
                    <a:pt x="479" y="2008"/>
                    <a:pt x="472" y="2016"/>
                  </a:cubicBezTo>
                  <a:close/>
                  <a:moveTo>
                    <a:pt x="127" y="202"/>
                  </a:moveTo>
                  <a:lnTo>
                    <a:pt x="127" y="202"/>
                  </a:lnTo>
                  <a:cubicBezTo>
                    <a:pt x="157" y="195"/>
                    <a:pt x="180" y="187"/>
                    <a:pt x="209" y="187"/>
                  </a:cubicBezTo>
                  <a:cubicBezTo>
                    <a:pt x="232" y="180"/>
                    <a:pt x="239" y="172"/>
                    <a:pt x="262" y="165"/>
                  </a:cubicBezTo>
                  <a:cubicBezTo>
                    <a:pt x="277" y="165"/>
                    <a:pt x="284" y="157"/>
                    <a:pt x="292" y="157"/>
                  </a:cubicBezTo>
                  <a:cubicBezTo>
                    <a:pt x="307" y="157"/>
                    <a:pt x="322" y="165"/>
                    <a:pt x="337" y="165"/>
                  </a:cubicBezTo>
                  <a:cubicBezTo>
                    <a:pt x="352" y="165"/>
                    <a:pt x="359" y="165"/>
                    <a:pt x="374" y="165"/>
                  </a:cubicBezTo>
                  <a:cubicBezTo>
                    <a:pt x="389" y="165"/>
                    <a:pt x="397" y="172"/>
                    <a:pt x="412" y="172"/>
                  </a:cubicBezTo>
                  <a:cubicBezTo>
                    <a:pt x="419" y="172"/>
                    <a:pt x="419" y="165"/>
                    <a:pt x="427" y="165"/>
                  </a:cubicBezTo>
                  <a:cubicBezTo>
                    <a:pt x="442" y="157"/>
                    <a:pt x="457" y="157"/>
                    <a:pt x="472" y="150"/>
                  </a:cubicBezTo>
                  <a:cubicBezTo>
                    <a:pt x="517" y="135"/>
                    <a:pt x="539" y="127"/>
                    <a:pt x="584" y="127"/>
                  </a:cubicBezTo>
                  <a:cubicBezTo>
                    <a:pt x="621" y="127"/>
                    <a:pt x="637" y="150"/>
                    <a:pt x="667" y="165"/>
                  </a:cubicBezTo>
                  <a:cubicBezTo>
                    <a:pt x="697" y="180"/>
                    <a:pt x="719" y="180"/>
                    <a:pt x="741" y="202"/>
                  </a:cubicBezTo>
                  <a:cubicBezTo>
                    <a:pt x="749" y="195"/>
                    <a:pt x="749" y="195"/>
                    <a:pt x="756" y="187"/>
                  </a:cubicBezTo>
                  <a:cubicBezTo>
                    <a:pt x="756" y="187"/>
                    <a:pt x="749" y="180"/>
                    <a:pt x="756" y="180"/>
                  </a:cubicBezTo>
                  <a:cubicBezTo>
                    <a:pt x="756" y="165"/>
                    <a:pt x="771" y="165"/>
                    <a:pt x="779" y="157"/>
                  </a:cubicBezTo>
                  <a:cubicBezTo>
                    <a:pt x="794" y="142"/>
                    <a:pt x="809" y="135"/>
                    <a:pt x="824" y="120"/>
                  </a:cubicBezTo>
                  <a:cubicBezTo>
                    <a:pt x="839" y="105"/>
                    <a:pt x="839" y="97"/>
                    <a:pt x="854" y="90"/>
                  </a:cubicBezTo>
                  <a:cubicBezTo>
                    <a:pt x="861" y="90"/>
                    <a:pt x="876" y="97"/>
                    <a:pt x="891" y="97"/>
                  </a:cubicBezTo>
                  <a:cubicBezTo>
                    <a:pt x="906" y="97"/>
                    <a:pt x="906" y="75"/>
                    <a:pt x="921" y="60"/>
                  </a:cubicBezTo>
                  <a:cubicBezTo>
                    <a:pt x="929" y="60"/>
                    <a:pt x="936" y="52"/>
                    <a:pt x="944" y="45"/>
                  </a:cubicBezTo>
                  <a:cubicBezTo>
                    <a:pt x="951" y="37"/>
                    <a:pt x="959" y="30"/>
                    <a:pt x="966" y="22"/>
                  </a:cubicBezTo>
                  <a:cubicBezTo>
                    <a:pt x="989" y="15"/>
                    <a:pt x="1011" y="22"/>
                    <a:pt x="1041" y="15"/>
                  </a:cubicBezTo>
                  <a:cubicBezTo>
                    <a:pt x="1071" y="15"/>
                    <a:pt x="1086" y="0"/>
                    <a:pt x="1109" y="0"/>
                  </a:cubicBezTo>
                  <a:cubicBezTo>
                    <a:pt x="1131" y="0"/>
                    <a:pt x="1139" y="15"/>
                    <a:pt x="1146" y="30"/>
                  </a:cubicBezTo>
                  <a:cubicBezTo>
                    <a:pt x="1161" y="52"/>
                    <a:pt x="1176" y="67"/>
                    <a:pt x="1176" y="97"/>
                  </a:cubicBezTo>
                  <a:cubicBezTo>
                    <a:pt x="1176" y="120"/>
                    <a:pt x="1154" y="135"/>
                    <a:pt x="1146" y="157"/>
                  </a:cubicBezTo>
                  <a:cubicBezTo>
                    <a:pt x="1116" y="217"/>
                    <a:pt x="1086" y="247"/>
                    <a:pt x="1041" y="307"/>
                  </a:cubicBezTo>
                  <a:cubicBezTo>
                    <a:pt x="1049" y="307"/>
                    <a:pt x="1049" y="307"/>
                    <a:pt x="1056" y="307"/>
                  </a:cubicBezTo>
                  <a:cubicBezTo>
                    <a:pt x="1079" y="307"/>
                    <a:pt x="1079" y="285"/>
                    <a:pt x="1101" y="270"/>
                  </a:cubicBezTo>
                  <a:cubicBezTo>
                    <a:pt x="1109" y="262"/>
                    <a:pt x="1124" y="270"/>
                    <a:pt x="1139" y="270"/>
                  </a:cubicBezTo>
                  <a:cubicBezTo>
                    <a:pt x="1139" y="292"/>
                    <a:pt x="1124" y="337"/>
                    <a:pt x="1154" y="337"/>
                  </a:cubicBezTo>
                  <a:cubicBezTo>
                    <a:pt x="1214" y="337"/>
                    <a:pt x="1214" y="337"/>
                    <a:pt x="1214" y="337"/>
                  </a:cubicBezTo>
                  <a:cubicBezTo>
                    <a:pt x="1229" y="337"/>
                    <a:pt x="1236" y="330"/>
                    <a:pt x="1244" y="322"/>
                  </a:cubicBezTo>
                  <a:cubicBezTo>
                    <a:pt x="1259" y="307"/>
                    <a:pt x="1274" y="300"/>
                    <a:pt x="1289" y="292"/>
                  </a:cubicBezTo>
                  <a:cubicBezTo>
                    <a:pt x="1319" y="285"/>
                    <a:pt x="1333" y="277"/>
                    <a:pt x="1356" y="262"/>
                  </a:cubicBezTo>
                  <a:cubicBezTo>
                    <a:pt x="1356" y="262"/>
                    <a:pt x="1356" y="270"/>
                    <a:pt x="1363" y="277"/>
                  </a:cubicBezTo>
                  <a:lnTo>
                    <a:pt x="1363" y="277"/>
                  </a:lnTo>
                  <a:cubicBezTo>
                    <a:pt x="1356" y="300"/>
                    <a:pt x="1349" y="315"/>
                    <a:pt x="1349" y="337"/>
                  </a:cubicBezTo>
                  <a:cubicBezTo>
                    <a:pt x="1349" y="360"/>
                    <a:pt x="1363" y="367"/>
                    <a:pt x="1371" y="390"/>
                  </a:cubicBezTo>
                  <a:cubicBezTo>
                    <a:pt x="1371" y="405"/>
                    <a:pt x="1371" y="412"/>
                    <a:pt x="1378" y="427"/>
                  </a:cubicBezTo>
                  <a:cubicBezTo>
                    <a:pt x="1386" y="442"/>
                    <a:pt x="1401" y="442"/>
                    <a:pt x="1401" y="457"/>
                  </a:cubicBezTo>
                  <a:cubicBezTo>
                    <a:pt x="1401" y="480"/>
                    <a:pt x="1393" y="502"/>
                    <a:pt x="1386" y="525"/>
                  </a:cubicBezTo>
                  <a:cubicBezTo>
                    <a:pt x="1386" y="547"/>
                    <a:pt x="1386" y="547"/>
                    <a:pt x="1386" y="547"/>
                  </a:cubicBezTo>
                  <a:cubicBezTo>
                    <a:pt x="1416" y="547"/>
                    <a:pt x="1431" y="539"/>
                    <a:pt x="1461" y="539"/>
                  </a:cubicBezTo>
                  <a:cubicBezTo>
                    <a:pt x="1498" y="539"/>
                    <a:pt x="1528" y="539"/>
                    <a:pt x="1558" y="555"/>
                  </a:cubicBezTo>
                  <a:cubicBezTo>
                    <a:pt x="1581" y="562"/>
                    <a:pt x="1588" y="577"/>
                    <a:pt x="1611" y="577"/>
                  </a:cubicBezTo>
                  <a:cubicBezTo>
                    <a:pt x="1648" y="585"/>
                    <a:pt x="1686" y="569"/>
                    <a:pt x="1723" y="569"/>
                  </a:cubicBezTo>
                  <a:lnTo>
                    <a:pt x="1723" y="569"/>
                  </a:lnTo>
                  <a:cubicBezTo>
                    <a:pt x="1731" y="555"/>
                    <a:pt x="1738" y="539"/>
                    <a:pt x="1753" y="517"/>
                  </a:cubicBezTo>
                  <a:cubicBezTo>
                    <a:pt x="1753" y="502"/>
                    <a:pt x="1753" y="495"/>
                    <a:pt x="1768" y="480"/>
                  </a:cubicBezTo>
                  <a:cubicBezTo>
                    <a:pt x="1776" y="480"/>
                    <a:pt x="1776" y="487"/>
                    <a:pt x="1783" y="480"/>
                  </a:cubicBezTo>
                  <a:cubicBezTo>
                    <a:pt x="1791" y="480"/>
                    <a:pt x="1798" y="480"/>
                    <a:pt x="1806" y="480"/>
                  </a:cubicBezTo>
                  <a:cubicBezTo>
                    <a:pt x="1813" y="480"/>
                    <a:pt x="1813" y="495"/>
                    <a:pt x="1821" y="502"/>
                  </a:cubicBezTo>
                  <a:cubicBezTo>
                    <a:pt x="1828" y="509"/>
                    <a:pt x="1836" y="509"/>
                    <a:pt x="1843" y="509"/>
                  </a:cubicBezTo>
                  <a:cubicBezTo>
                    <a:pt x="1851" y="509"/>
                    <a:pt x="1851" y="502"/>
                    <a:pt x="1858" y="502"/>
                  </a:cubicBezTo>
                  <a:cubicBezTo>
                    <a:pt x="1866" y="487"/>
                    <a:pt x="1873" y="472"/>
                    <a:pt x="1880" y="465"/>
                  </a:cubicBezTo>
                  <a:cubicBezTo>
                    <a:pt x="1880" y="397"/>
                    <a:pt x="1880" y="397"/>
                    <a:pt x="1880" y="397"/>
                  </a:cubicBezTo>
                  <a:cubicBezTo>
                    <a:pt x="1880" y="390"/>
                    <a:pt x="1896" y="382"/>
                    <a:pt x="1896" y="375"/>
                  </a:cubicBezTo>
                  <a:cubicBezTo>
                    <a:pt x="1903" y="360"/>
                    <a:pt x="1903" y="352"/>
                    <a:pt x="1903" y="337"/>
                  </a:cubicBezTo>
                  <a:cubicBezTo>
                    <a:pt x="1910" y="352"/>
                    <a:pt x="1918" y="360"/>
                    <a:pt x="1933" y="367"/>
                  </a:cubicBezTo>
                  <a:cubicBezTo>
                    <a:pt x="1940" y="375"/>
                    <a:pt x="1948" y="390"/>
                    <a:pt x="1956" y="390"/>
                  </a:cubicBezTo>
                  <a:cubicBezTo>
                    <a:pt x="1978" y="390"/>
                    <a:pt x="1993" y="367"/>
                    <a:pt x="2008" y="352"/>
                  </a:cubicBezTo>
                  <a:cubicBezTo>
                    <a:pt x="2008" y="345"/>
                    <a:pt x="2008" y="345"/>
                    <a:pt x="2016" y="337"/>
                  </a:cubicBezTo>
                  <a:cubicBezTo>
                    <a:pt x="2023" y="337"/>
                    <a:pt x="2030" y="337"/>
                    <a:pt x="2038" y="330"/>
                  </a:cubicBezTo>
                  <a:cubicBezTo>
                    <a:pt x="2045" y="330"/>
                    <a:pt x="2053" y="330"/>
                    <a:pt x="2060" y="322"/>
                  </a:cubicBezTo>
                  <a:cubicBezTo>
                    <a:pt x="2075" y="322"/>
                    <a:pt x="2083" y="322"/>
                    <a:pt x="2090" y="315"/>
                  </a:cubicBezTo>
                  <a:cubicBezTo>
                    <a:pt x="2098" y="307"/>
                    <a:pt x="2090" y="292"/>
                    <a:pt x="2090" y="285"/>
                  </a:cubicBezTo>
                  <a:cubicBezTo>
                    <a:pt x="2113" y="285"/>
                    <a:pt x="2120" y="277"/>
                    <a:pt x="2143" y="270"/>
                  </a:cubicBezTo>
                  <a:cubicBezTo>
                    <a:pt x="2173" y="255"/>
                    <a:pt x="2195" y="255"/>
                    <a:pt x="2210" y="232"/>
                  </a:cubicBezTo>
                  <a:cubicBezTo>
                    <a:pt x="2210" y="232"/>
                    <a:pt x="2210" y="225"/>
                    <a:pt x="2210" y="217"/>
                  </a:cubicBezTo>
                  <a:cubicBezTo>
                    <a:pt x="2195" y="210"/>
                    <a:pt x="2180" y="210"/>
                    <a:pt x="2173" y="195"/>
                  </a:cubicBezTo>
                  <a:cubicBezTo>
                    <a:pt x="2165" y="180"/>
                    <a:pt x="2165" y="172"/>
                    <a:pt x="2158" y="157"/>
                  </a:cubicBezTo>
                  <a:cubicBezTo>
                    <a:pt x="2158" y="142"/>
                    <a:pt x="2150" y="135"/>
                    <a:pt x="2150" y="120"/>
                  </a:cubicBezTo>
                  <a:cubicBezTo>
                    <a:pt x="2150" y="112"/>
                    <a:pt x="2158" y="112"/>
                    <a:pt x="2158" y="112"/>
                  </a:cubicBezTo>
                  <a:cubicBezTo>
                    <a:pt x="2173" y="105"/>
                    <a:pt x="2180" y="97"/>
                    <a:pt x="2188" y="97"/>
                  </a:cubicBezTo>
                  <a:cubicBezTo>
                    <a:pt x="2218" y="97"/>
                    <a:pt x="2233" y="127"/>
                    <a:pt x="2263" y="127"/>
                  </a:cubicBezTo>
                  <a:cubicBezTo>
                    <a:pt x="2278" y="127"/>
                    <a:pt x="2285" y="120"/>
                    <a:pt x="2300" y="120"/>
                  </a:cubicBezTo>
                  <a:lnTo>
                    <a:pt x="2308" y="135"/>
                  </a:lnTo>
                  <a:lnTo>
                    <a:pt x="2308" y="135"/>
                  </a:lnTo>
                  <a:cubicBezTo>
                    <a:pt x="2308" y="157"/>
                    <a:pt x="2308" y="172"/>
                    <a:pt x="2315" y="195"/>
                  </a:cubicBezTo>
                  <a:cubicBezTo>
                    <a:pt x="2330" y="195"/>
                    <a:pt x="2338" y="195"/>
                    <a:pt x="2360" y="195"/>
                  </a:cubicBezTo>
                  <a:cubicBezTo>
                    <a:pt x="2353" y="202"/>
                    <a:pt x="2353" y="210"/>
                    <a:pt x="2353" y="225"/>
                  </a:cubicBezTo>
                  <a:cubicBezTo>
                    <a:pt x="2353" y="255"/>
                    <a:pt x="2360" y="285"/>
                    <a:pt x="2383" y="307"/>
                  </a:cubicBezTo>
                  <a:cubicBezTo>
                    <a:pt x="2390" y="300"/>
                    <a:pt x="2398" y="292"/>
                    <a:pt x="2398" y="285"/>
                  </a:cubicBezTo>
                  <a:cubicBezTo>
                    <a:pt x="2413" y="300"/>
                    <a:pt x="2435" y="307"/>
                    <a:pt x="2435" y="330"/>
                  </a:cubicBezTo>
                  <a:cubicBezTo>
                    <a:pt x="2435" y="345"/>
                    <a:pt x="2420" y="352"/>
                    <a:pt x="2420" y="367"/>
                  </a:cubicBezTo>
                  <a:cubicBezTo>
                    <a:pt x="2420" y="397"/>
                    <a:pt x="2465" y="405"/>
                    <a:pt x="2465" y="435"/>
                  </a:cubicBezTo>
                  <a:cubicBezTo>
                    <a:pt x="2465" y="442"/>
                    <a:pt x="2458" y="450"/>
                    <a:pt x="2458" y="465"/>
                  </a:cubicBezTo>
                  <a:cubicBezTo>
                    <a:pt x="2458" y="480"/>
                    <a:pt x="2465" y="487"/>
                    <a:pt x="2465" y="509"/>
                  </a:cubicBezTo>
                  <a:cubicBezTo>
                    <a:pt x="2465" y="525"/>
                    <a:pt x="2458" y="539"/>
                    <a:pt x="2458" y="555"/>
                  </a:cubicBezTo>
                  <a:cubicBezTo>
                    <a:pt x="2450" y="585"/>
                    <a:pt x="2465" y="599"/>
                    <a:pt x="2458" y="622"/>
                  </a:cubicBezTo>
                  <a:cubicBezTo>
                    <a:pt x="2450" y="637"/>
                    <a:pt x="2435" y="644"/>
                    <a:pt x="2428" y="652"/>
                  </a:cubicBezTo>
                  <a:cubicBezTo>
                    <a:pt x="2443" y="682"/>
                    <a:pt x="2458" y="704"/>
                    <a:pt x="2458" y="734"/>
                  </a:cubicBezTo>
                  <a:lnTo>
                    <a:pt x="2458" y="734"/>
                  </a:lnTo>
                  <a:cubicBezTo>
                    <a:pt x="2495" y="734"/>
                    <a:pt x="2518" y="734"/>
                    <a:pt x="2548" y="749"/>
                  </a:cubicBezTo>
                  <a:cubicBezTo>
                    <a:pt x="2555" y="742"/>
                    <a:pt x="2555" y="742"/>
                    <a:pt x="2563" y="742"/>
                  </a:cubicBezTo>
                  <a:cubicBezTo>
                    <a:pt x="2563" y="727"/>
                    <a:pt x="2563" y="719"/>
                    <a:pt x="2570" y="712"/>
                  </a:cubicBezTo>
                  <a:cubicBezTo>
                    <a:pt x="2585" y="712"/>
                    <a:pt x="2592" y="712"/>
                    <a:pt x="2600" y="712"/>
                  </a:cubicBezTo>
                  <a:cubicBezTo>
                    <a:pt x="2608" y="734"/>
                    <a:pt x="2615" y="749"/>
                    <a:pt x="2630" y="772"/>
                  </a:cubicBezTo>
                  <a:cubicBezTo>
                    <a:pt x="2638" y="794"/>
                    <a:pt x="2660" y="794"/>
                    <a:pt x="2668" y="817"/>
                  </a:cubicBezTo>
                  <a:cubicBezTo>
                    <a:pt x="2675" y="824"/>
                    <a:pt x="2675" y="839"/>
                    <a:pt x="2682" y="847"/>
                  </a:cubicBezTo>
                  <a:cubicBezTo>
                    <a:pt x="2682" y="847"/>
                    <a:pt x="2698" y="847"/>
                    <a:pt x="2705" y="847"/>
                  </a:cubicBezTo>
                  <a:cubicBezTo>
                    <a:pt x="2728" y="847"/>
                    <a:pt x="2742" y="862"/>
                    <a:pt x="2765" y="877"/>
                  </a:cubicBezTo>
                  <a:lnTo>
                    <a:pt x="2765" y="877"/>
                  </a:lnTo>
                  <a:cubicBezTo>
                    <a:pt x="2780" y="899"/>
                    <a:pt x="2787" y="907"/>
                    <a:pt x="2802" y="929"/>
                  </a:cubicBezTo>
                  <a:cubicBezTo>
                    <a:pt x="2802" y="944"/>
                    <a:pt x="2802" y="952"/>
                    <a:pt x="2810" y="967"/>
                  </a:cubicBezTo>
                  <a:cubicBezTo>
                    <a:pt x="2817" y="967"/>
                    <a:pt x="2817" y="967"/>
                    <a:pt x="2825" y="974"/>
                  </a:cubicBezTo>
                  <a:cubicBezTo>
                    <a:pt x="2832" y="989"/>
                    <a:pt x="2840" y="1012"/>
                    <a:pt x="2847" y="1019"/>
                  </a:cubicBezTo>
                  <a:lnTo>
                    <a:pt x="2847" y="1019"/>
                  </a:lnTo>
                  <a:cubicBezTo>
                    <a:pt x="2840" y="1026"/>
                    <a:pt x="2832" y="1026"/>
                    <a:pt x="2817" y="1034"/>
                  </a:cubicBezTo>
                  <a:cubicBezTo>
                    <a:pt x="2802" y="1042"/>
                    <a:pt x="2795" y="1049"/>
                    <a:pt x="2772" y="1049"/>
                  </a:cubicBezTo>
                  <a:cubicBezTo>
                    <a:pt x="2765" y="1049"/>
                    <a:pt x="2765" y="1042"/>
                    <a:pt x="2757" y="1034"/>
                  </a:cubicBezTo>
                  <a:cubicBezTo>
                    <a:pt x="2750" y="1072"/>
                    <a:pt x="2742" y="1094"/>
                    <a:pt x="2742" y="1132"/>
                  </a:cubicBezTo>
                  <a:cubicBezTo>
                    <a:pt x="2735" y="1162"/>
                    <a:pt x="2735" y="1176"/>
                    <a:pt x="2728" y="1199"/>
                  </a:cubicBezTo>
                  <a:cubicBezTo>
                    <a:pt x="2720" y="1214"/>
                    <a:pt x="2720" y="1229"/>
                    <a:pt x="2705" y="1251"/>
                  </a:cubicBezTo>
                  <a:cubicBezTo>
                    <a:pt x="2690" y="1296"/>
                    <a:pt x="2668" y="1311"/>
                    <a:pt x="2645" y="1356"/>
                  </a:cubicBezTo>
                  <a:cubicBezTo>
                    <a:pt x="2622" y="1379"/>
                    <a:pt x="2615" y="1394"/>
                    <a:pt x="2600" y="1416"/>
                  </a:cubicBezTo>
                  <a:cubicBezTo>
                    <a:pt x="2585" y="1431"/>
                    <a:pt x="2578" y="1439"/>
                    <a:pt x="2570" y="1461"/>
                  </a:cubicBezTo>
                  <a:cubicBezTo>
                    <a:pt x="2608" y="1566"/>
                    <a:pt x="2608" y="1566"/>
                    <a:pt x="2608" y="1566"/>
                  </a:cubicBezTo>
                  <a:cubicBezTo>
                    <a:pt x="2585" y="1604"/>
                    <a:pt x="2585" y="1604"/>
                    <a:pt x="2585" y="1604"/>
                  </a:cubicBezTo>
                  <a:cubicBezTo>
                    <a:pt x="2608" y="1611"/>
                    <a:pt x="2622" y="1619"/>
                    <a:pt x="2645" y="1619"/>
                  </a:cubicBezTo>
                  <a:cubicBezTo>
                    <a:pt x="2668" y="1619"/>
                    <a:pt x="2682" y="1619"/>
                    <a:pt x="2705" y="1626"/>
                  </a:cubicBezTo>
                  <a:cubicBezTo>
                    <a:pt x="2712" y="1634"/>
                    <a:pt x="2712" y="1649"/>
                    <a:pt x="2720" y="1649"/>
                  </a:cubicBezTo>
                  <a:cubicBezTo>
                    <a:pt x="2735" y="1656"/>
                    <a:pt x="2750" y="1664"/>
                    <a:pt x="2765" y="1671"/>
                  </a:cubicBezTo>
                  <a:cubicBezTo>
                    <a:pt x="2787" y="1686"/>
                    <a:pt x="2802" y="1701"/>
                    <a:pt x="2825" y="1709"/>
                  </a:cubicBezTo>
                  <a:cubicBezTo>
                    <a:pt x="2862" y="1724"/>
                    <a:pt x="2877" y="1731"/>
                    <a:pt x="2915" y="1738"/>
                  </a:cubicBezTo>
                  <a:cubicBezTo>
                    <a:pt x="2945" y="1754"/>
                    <a:pt x="2967" y="1754"/>
                    <a:pt x="2990" y="1776"/>
                  </a:cubicBezTo>
                  <a:cubicBezTo>
                    <a:pt x="2997" y="1791"/>
                    <a:pt x="2997" y="1798"/>
                    <a:pt x="3005" y="1806"/>
                  </a:cubicBezTo>
                  <a:cubicBezTo>
                    <a:pt x="3012" y="1828"/>
                    <a:pt x="3020" y="1844"/>
                    <a:pt x="3020" y="1866"/>
                  </a:cubicBezTo>
                  <a:cubicBezTo>
                    <a:pt x="3020" y="1896"/>
                    <a:pt x="3020" y="1911"/>
                    <a:pt x="3012" y="1933"/>
                  </a:cubicBezTo>
                  <a:cubicBezTo>
                    <a:pt x="3005" y="1948"/>
                    <a:pt x="2990" y="1948"/>
                    <a:pt x="2990" y="1956"/>
                  </a:cubicBezTo>
                  <a:cubicBezTo>
                    <a:pt x="2982" y="1963"/>
                    <a:pt x="2982" y="1971"/>
                    <a:pt x="2982" y="1986"/>
                  </a:cubicBezTo>
                  <a:cubicBezTo>
                    <a:pt x="2982" y="2016"/>
                    <a:pt x="2990" y="2031"/>
                    <a:pt x="3005" y="2061"/>
                  </a:cubicBezTo>
                  <a:cubicBezTo>
                    <a:pt x="2975" y="2076"/>
                    <a:pt x="2952" y="2083"/>
                    <a:pt x="2915" y="2083"/>
                  </a:cubicBezTo>
                  <a:cubicBezTo>
                    <a:pt x="2907" y="2083"/>
                    <a:pt x="2907" y="2083"/>
                    <a:pt x="2900" y="2076"/>
                  </a:cubicBezTo>
                  <a:cubicBezTo>
                    <a:pt x="2907" y="2061"/>
                    <a:pt x="2922" y="2053"/>
                    <a:pt x="2922" y="2038"/>
                  </a:cubicBezTo>
                  <a:cubicBezTo>
                    <a:pt x="2870" y="2031"/>
                    <a:pt x="2840" y="2023"/>
                    <a:pt x="2787" y="2023"/>
                  </a:cubicBezTo>
                  <a:cubicBezTo>
                    <a:pt x="2780" y="2023"/>
                    <a:pt x="2772" y="2031"/>
                    <a:pt x="2765" y="2031"/>
                  </a:cubicBezTo>
                  <a:cubicBezTo>
                    <a:pt x="2772" y="2016"/>
                    <a:pt x="2772" y="2008"/>
                    <a:pt x="2765" y="1993"/>
                  </a:cubicBezTo>
                  <a:cubicBezTo>
                    <a:pt x="2705" y="2016"/>
                    <a:pt x="2690" y="2076"/>
                    <a:pt x="2630" y="2091"/>
                  </a:cubicBezTo>
                  <a:cubicBezTo>
                    <a:pt x="2622" y="2068"/>
                    <a:pt x="2622" y="2068"/>
                    <a:pt x="2622" y="2068"/>
                  </a:cubicBezTo>
                  <a:cubicBezTo>
                    <a:pt x="2608" y="2076"/>
                    <a:pt x="2600" y="2076"/>
                    <a:pt x="2585" y="2091"/>
                  </a:cubicBezTo>
                  <a:cubicBezTo>
                    <a:pt x="2578" y="2098"/>
                    <a:pt x="2578" y="2113"/>
                    <a:pt x="2570" y="2113"/>
                  </a:cubicBezTo>
                  <a:cubicBezTo>
                    <a:pt x="2548" y="2121"/>
                    <a:pt x="2540" y="2113"/>
                    <a:pt x="2518" y="2113"/>
                  </a:cubicBezTo>
                  <a:cubicBezTo>
                    <a:pt x="2480" y="2113"/>
                    <a:pt x="2473" y="2136"/>
                    <a:pt x="2443" y="2151"/>
                  </a:cubicBezTo>
                  <a:cubicBezTo>
                    <a:pt x="2428" y="2158"/>
                    <a:pt x="2420" y="2166"/>
                    <a:pt x="2405" y="2173"/>
                  </a:cubicBezTo>
                  <a:cubicBezTo>
                    <a:pt x="2383" y="2166"/>
                    <a:pt x="2383" y="2166"/>
                    <a:pt x="2383" y="2166"/>
                  </a:cubicBezTo>
                  <a:cubicBezTo>
                    <a:pt x="2368" y="2181"/>
                    <a:pt x="2360" y="2188"/>
                    <a:pt x="2360" y="2203"/>
                  </a:cubicBezTo>
                  <a:cubicBezTo>
                    <a:pt x="2353" y="2218"/>
                    <a:pt x="2360" y="2233"/>
                    <a:pt x="2353" y="2241"/>
                  </a:cubicBezTo>
                  <a:cubicBezTo>
                    <a:pt x="2345" y="2263"/>
                    <a:pt x="2330" y="2271"/>
                    <a:pt x="2323" y="2293"/>
                  </a:cubicBezTo>
                  <a:cubicBezTo>
                    <a:pt x="2323" y="2301"/>
                    <a:pt x="2323" y="2315"/>
                    <a:pt x="2315" y="2315"/>
                  </a:cubicBezTo>
                  <a:cubicBezTo>
                    <a:pt x="2308" y="2323"/>
                    <a:pt x="2300" y="2331"/>
                    <a:pt x="2285" y="2331"/>
                  </a:cubicBezTo>
                  <a:cubicBezTo>
                    <a:pt x="2278" y="2331"/>
                    <a:pt x="2270" y="2315"/>
                    <a:pt x="2263" y="2315"/>
                  </a:cubicBezTo>
                  <a:cubicBezTo>
                    <a:pt x="2255" y="2315"/>
                    <a:pt x="2248" y="2323"/>
                    <a:pt x="2240" y="2323"/>
                  </a:cubicBezTo>
                  <a:cubicBezTo>
                    <a:pt x="2240" y="2345"/>
                    <a:pt x="2240" y="2345"/>
                    <a:pt x="2240" y="2345"/>
                  </a:cubicBezTo>
                  <a:cubicBezTo>
                    <a:pt x="2240" y="2361"/>
                    <a:pt x="2255" y="2368"/>
                    <a:pt x="2263" y="2383"/>
                  </a:cubicBezTo>
                  <a:cubicBezTo>
                    <a:pt x="2278" y="2420"/>
                    <a:pt x="2278" y="2435"/>
                    <a:pt x="2285" y="2473"/>
                  </a:cubicBezTo>
                  <a:cubicBezTo>
                    <a:pt x="2278" y="2473"/>
                    <a:pt x="2278" y="2480"/>
                    <a:pt x="2270" y="2480"/>
                  </a:cubicBezTo>
                  <a:cubicBezTo>
                    <a:pt x="2263" y="2480"/>
                    <a:pt x="2255" y="2473"/>
                    <a:pt x="2248" y="2473"/>
                  </a:cubicBezTo>
                  <a:cubicBezTo>
                    <a:pt x="2240" y="2495"/>
                    <a:pt x="2233" y="2510"/>
                    <a:pt x="2210" y="2533"/>
                  </a:cubicBezTo>
                  <a:cubicBezTo>
                    <a:pt x="2203" y="2540"/>
                    <a:pt x="2203" y="2555"/>
                    <a:pt x="2188" y="2563"/>
                  </a:cubicBezTo>
                  <a:cubicBezTo>
                    <a:pt x="2180" y="2563"/>
                    <a:pt x="2165" y="2555"/>
                    <a:pt x="2150" y="2563"/>
                  </a:cubicBezTo>
                  <a:cubicBezTo>
                    <a:pt x="2143" y="2570"/>
                    <a:pt x="2143" y="2578"/>
                    <a:pt x="2135" y="2585"/>
                  </a:cubicBezTo>
                  <a:cubicBezTo>
                    <a:pt x="2128" y="2593"/>
                    <a:pt x="2128" y="2593"/>
                    <a:pt x="2120" y="2593"/>
                  </a:cubicBezTo>
                  <a:cubicBezTo>
                    <a:pt x="2090" y="2615"/>
                    <a:pt x="2090" y="2645"/>
                    <a:pt x="2075" y="2675"/>
                  </a:cubicBezTo>
                  <a:cubicBezTo>
                    <a:pt x="2045" y="2705"/>
                    <a:pt x="2038" y="2728"/>
                    <a:pt x="2023" y="2773"/>
                  </a:cubicBezTo>
                  <a:cubicBezTo>
                    <a:pt x="2016" y="2795"/>
                    <a:pt x="2000" y="2810"/>
                    <a:pt x="1993" y="2833"/>
                  </a:cubicBezTo>
                  <a:cubicBezTo>
                    <a:pt x="1978" y="2855"/>
                    <a:pt x="1978" y="2870"/>
                    <a:pt x="1970" y="2893"/>
                  </a:cubicBezTo>
                  <a:cubicBezTo>
                    <a:pt x="1963" y="2908"/>
                    <a:pt x="1956" y="2915"/>
                    <a:pt x="1948" y="2930"/>
                  </a:cubicBezTo>
                  <a:cubicBezTo>
                    <a:pt x="1933" y="2967"/>
                    <a:pt x="1926" y="2990"/>
                    <a:pt x="1918" y="3020"/>
                  </a:cubicBezTo>
                  <a:cubicBezTo>
                    <a:pt x="1903" y="3057"/>
                    <a:pt x="1880" y="3080"/>
                    <a:pt x="1843" y="3095"/>
                  </a:cubicBezTo>
                  <a:cubicBezTo>
                    <a:pt x="1836" y="3102"/>
                    <a:pt x="1821" y="3110"/>
                    <a:pt x="1806" y="3117"/>
                  </a:cubicBezTo>
                  <a:cubicBezTo>
                    <a:pt x="1798" y="3125"/>
                    <a:pt x="1783" y="3132"/>
                    <a:pt x="1776" y="3140"/>
                  </a:cubicBezTo>
                  <a:cubicBezTo>
                    <a:pt x="1768" y="3147"/>
                    <a:pt x="1768" y="3162"/>
                    <a:pt x="1761" y="3170"/>
                  </a:cubicBezTo>
                  <a:cubicBezTo>
                    <a:pt x="1738" y="3185"/>
                    <a:pt x="1723" y="3155"/>
                    <a:pt x="1701" y="3147"/>
                  </a:cubicBezTo>
                  <a:cubicBezTo>
                    <a:pt x="1678" y="3140"/>
                    <a:pt x="1671" y="3140"/>
                    <a:pt x="1648" y="3132"/>
                  </a:cubicBezTo>
                  <a:cubicBezTo>
                    <a:pt x="1596" y="3117"/>
                    <a:pt x="1566" y="3117"/>
                    <a:pt x="1513" y="3102"/>
                  </a:cubicBezTo>
                  <a:cubicBezTo>
                    <a:pt x="1446" y="3087"/>
                    <a:pt x="1416" y="3073"/>
                    <a:pt x="1349" y="3043"/>
                  </a:cubicBezTo>
                  <a:cubicBezTo>
                    <a:pt x="1319" y="3035"/>
                    <a:pt x="1289" y="3020"/>
                    <a:pt x="1281" y="2990"/>
                  </a:cubicBezTo>
                  <a:cubicBezTo>
                    <a:pt x="1281" y="2967"/>
                    <a:pt x="1289" y="2953"/>
                    <a:pt x="1274" y="2937"/>
                  </a:cubicBezTo>
                  <a:cubicBezTo>
                    <a:pt x="1266" y="2930"/>
                    <a:pt x="1259" y="2937"/>
                    <a:pt x="1251" y="2930"/>
                  </a:cubicBezTo>
                  <a:cubicBezTo>
                    <a:pt x="1244" y="2930"/>
                    <a:pt x="1244" y="2923"/>
                    <a:pt x="1236" y="2923"/>
                  </a:cubicBezTo>
                  <a:cubicBezTo>
                    <a:pt x="1244" y="2900"/>
                    <a:pt x="1236" y="2885"/>
                    <a:pt x="1244" y="2863"/>
                  </a:cubicBezTo>
                  <a:cubicBezTo>
                    <a:pt x="1266" y="2863"/>
                    <a:pt x="1289" y="2863"/>
                    <a:pt x="1311" y="2848"/>
                  </a:cubicBezTo>
                  <a:cubicBezTo>
                    <a:pt x="1281" y="2810"/>
                    <a:pt x="1244" y="2803"/>
                    <a:pt x="1199" y="2788"/>
                  </a:cubicBezTo>
                  <a:cubicBezTo>
                    <a:pt x="1176" y="2773"/>
                    <a:pt x="1161" y="2765"/>
                    <a:pt x="1139" y="2750"/>
                  </a:cubicBezTo>
                  <a:cubicBezTo>
                    <a:pt x="1101" y="2728"/>
                    <a:pt x="1086" y="2713"/>
                    <a:pt x="1049" y="2690"/>
                  </a:cubicBezTo>
                  <a:cubicBezTo>
                    <a:pt x="1034" y="2683"/>
                    <a:pt x="1019" y="2675"/>
                    <a:pt x="1011" y="2660"/>
                  </a:cubicBezTo>
                  <a:cubicBezTo>
                    <a:pt x="1004" y="2638"/>
                    <a:pt x="1004" y="2623"/>
                    <a:pt x="1004" y="2600"/>
                  </a:cubicBezTo>
                  <a:cubicBezTo>
                    <a:pt x="981" y="2600"/>
                    <a:pt x="981" y="2600"/>
                    <a:pt x="981" y="2600"/>
                  </a:cubicBezTo>
                  <a:cubicBezTo>
                    <a:pt x="959" y="2600"/>
                    <a:pt x="951" y="2608"/>
                    <a:pt x="929" y="2615"/>
                  </a:cubicBezTo>
                  <a:cubicBezTo>
                    <a:pt x="929" y="2608"/>
                    <a:pt x="921" y="2600"/>
                    <a:pt x="921" y="2593"/>
                  </a:cubicBezTo>
                  <a:cubicBezTo>
                    <a:pt x="921" y="2563"/>
                    <a:pt x="929" y="2548"/>
                    <a:pt x="936" y="2518"/>
                  </a:cubicBezTo>
                  <a:cubicBezTo>
                    <a:pt x="936" y="2510"/>
                    <a:pt x="944" y="2503"/>
                    <a:pt x="944" y="2495"/>
                  </a:cubicBezTo>
                  <a:cubicBezTo>
                    <a:pt x="944" y="2473"/>
                    <a:pt x="921" y="2465"/>
                    <a:pt x="921" y="2443"/>
                  </a:cubicBezTo>
                  <a:cubicBezTo>
                    <a:pt x="921" y="2405"/>
                    <a:pt x="944" y="2383"/>
                    <a:pt x="959" y="2345"/>
                  </a:cubicBezTo>
                  <a:cubicBezTo>
                    <a:pt x="974" y="2301"/>
                    <a:pt x="989" y="2263"/>
                    <a:pt x="1034" y="2248"/>
                  </a:cubicBezTo>
                  <a:cubicBezTo>
                    <a:pt x="1026" y="2233"/>
                    <a:pt x="1019" y="2218"/>
                    <a:pt x="1019" y="2203"/>
                  </a:cubicBezTo>
                  <a:cubicBezTo>
                    <a:pt x="1019" y="2196"/>
                    <a:pt x="1019" y="2196"/>
                    <a:pt x="1019" y="2196"/>
                  </a:cubicBezTo>
                  <a:cubicBezTo>
                    <a:pt x="1019" y="2181"/>
                    <a:pt x="1026" y="2181"/>
                    <a:pt x="1026" y="2166"/>
                  </a:cubicBezTo>
                  <a:cubicBezTo>
                    <a:pt x="1026" y="2136"/>
                    <a:pt x="996" y="2121"/>
                    <a:pt x="966" y="2106"/>
                  </a:cubicBezTo>
                  <a:cubicBezTo>
                    <a:pt x="959" y="2106"/>
                    <a:pt x="959" y="2091"/>
                    <a:pt x="944" y="2083"/>
                  </a:cubicBezTo>
                  <a:cubicBezTo>
                    <a:pt x="929" y="2083"/>
                    <a:pt x="921" y="2076"/>
                    <a:pt x="914" y="2068"/>
                  </a:cubicBezTo>
                  <a:cubicBezTo>
                    <a:pt x="929" y="2038"/>
                    <a:pt x="959" y="2038"/>
                    <a:pt x="996" y="2023"/>
                  </a:cubicBezTo>
                  <a:cubicBezTo>
                    <a:pt x="1011" y="2016"/>
                    <a:pt x="1026" y="2008"/>
                    <a:pt x="1041" y="1993"/>
                  </a:cubicBezTo>
                  <a:cubicBezTo>
                    <a:pt x="1064" y="1986"/>
                    <a:pt x="1079" y="1978"/>
                    <a:pt x="1094" y="1963"/>
                  </a:cubicBezTo>
                  <a:cubicBezTo>
                    <a:pt x="1131" y="1941"/>
                    <a:pt x="1154" y="1926"/>
                    <a:pt x="1176" y="1896"/>
                  </a:cubicBezTo>
                  <a:cubicBezTo>
                    <a:pt x="1199" y="1866"/>
                    <a:pt x="1221" y="1851"/>
                    <a:pt x="1236" y="1821"/>
                  </a:cubicBezTo>
                  <a:cubicBezTo>
                    <a:pt x="1251" y="1798"/>
                    <a:pt x="1251" y="1791"/>
                    <a:pt x="1266" y="1768"/>
                  </a:cubicBezTo>
                  <a:cubicBezTo>
                    <a:pt x="1281" y="1746"/>
                    <a:pt x="1296" y="1738"/>
                    <a:pt x="1311" y="1709"/>
                  </a:cubicBezTo>
                  <a:cubicBezTo>
                    <a:pt x="1326" y="1671"/>
                    <a:pt x="1333" y="1649"/>
                    <a:pt x="1333" y="1611"/>
                  </a:cubicBezTo>
                  <a:cubicBezTo>
                    <a:pt x="1333" y="1596"/>
                    <a:pt x="1326" y="1581"/>
                    <a:pt x="1311" y="1566"/>
                  </a:cubicBezTo>
                  <a:cubicBezTo>
                    <a:pt x="1311" y="1559"/>
                    <a:pt x="1304" y="1566"/>
                    <a:pt x="1304" y="1559"/>
                  </a:cubicBezTo>
                  <a:cubicBezTo>
                    <a:pt x="1304" y="1544"/>
                    <a:pt x="1304" y="1536"/>
                    <a:pt x="1296" y="1521"/>
                  </a:cubicBezTo>
                  <a:cubicBezTo>
                    <a:pt x="1289" y="1506"/>
                    <a:pt x="1274" y="1506"/>
                    <a:pt x="1259" y="1499"/>
                  </a:cubicBezTo>
                  <a:cubicBezTo>
                    <a:pt x="1244" y="1499"/>
                    <a:pt x="1236" y="1491"/>
                    <a:pt x="1221" y="1491"/>
                  </a:cubicBezTo>
                  <a:cubicBezTo>
                    <a:pt x="1191" y="1499"/>
                    <a:pt x="1176" y="1506"/>
                    <a:pt x="1139" y="1514"/>
                  </a:cubicBezTo>
                  <a:cubicBezTo>
                    <a:pt x="1124" y="1514"/>
                    <a:pt x="1109" y="1514"/>
                    <a:pt x="1094" y="1529"/>
                  </a:cubicBezTo>
                  <a:cubicBezTo>
                    <a:pt x="1071" y="1536"/>
                    <a:pt x="1056" y="1544"/>
                    <a:pt x="1026" y="1551"/>
                  </a:cubicBezTo>
                  <a:cubicBezTo>
                    <a:pt x="1004" y="1559"/>
                    <a:pt x="989" y="1574"/>
                    <a:pt x="959" y="1574"/>
                  </a:cubicBezTo>
                  <a:cubicBezTo>
                    <a:pt x="921" y="1574"/>
                    <a:pt x="899" y="1566"/>
                    <a:pt x="869" y="1559"/>
                  </a:cubicBezTo>
                  <a:cubicBezTo>
                    <a:pt x="839" y="1559"/>
                    <a:pt x="824" y="1551"/>
                    <a:pt x="801" y="1544"/>
                  </a:cubicBezTo>
                  <a:lnTo>
                    <a:pt x="794" y="1536"/>
                  </a:lnTo>
                  <a:cubicBezTo>
                    <a:pt x="779" y="1529"/>
                    <a:pt x="771" y="1536"/>
                    <a:pt x="764" y="1529"/>
                  </a:cubicBezTo>
                  <a:cubicBezTo>
                    <a:pt x="756" y="1529"/>
                    <a:pt x="756" y="1521"/>
                    <a:pt x="749" y="1514"/>
                  </a:cubicBezTo>
                  <a:cubicBezTo>
                    <a:pt x="741" y="1514"/>
                    <a:pt x="734" y="1506"/>
                    <a:pt x="727" y="1506"/>
                  </a:cubicBezTo>
                  <a:cubicBezTo>
                    <a:pt x="674" y="1476"/>
                    <a:pt x="659" y="1431"/>
                    <a:pt x="599" y="1416"/>
                  </a:cubicBezTo>
                  <a:cubicBezTo>
                    <a:pt x="577" y="1401"/>
                    <a:pt x="562" y="1401"/>
                    <a:pt x="539" y="1394"/>
                  </a:cubicBezTo>
                  <a:cubicBezTo>
                    <a:pt x="524" y="1386"/>
                    <a:pt x="509" y="1386"/>
                    <a:pt x="502" y="1379"/>
                  </a:cubicBezTo>
                  <a:cubicBezTo>
                    <a:pt x="494" y="1371"/>
                    <a:pt x="487" y="1356"/>
                    <a:pt x="472" y="1356"/>
                  </a:cubicBezTo>
                  <a:cubicBezTo>
                    <a:pt x="449" y="1356"/>
                    <a:pt x="434" y="1379"/>
                    <a:pt x="412" y="1379"/>
                  </a:cubicBezTo>
                  <a:cubicBezTo>
                    <a:pt x="382" y="1386"/>
                    <a:pt x="359" y="1379"/>
                    <a:pt x="329" y="1379"/>
                  </a:cubicBezTo>
                  <a:cubicBezTo>
                    <a:pt x="299" y="1379"/>
                    <a:pt x="277" y="1386"/>
                    <a:pt x="239" y="1394"/>
                  </a:cubicBezTo>
                  <a:cubicBezTo>
                    <a:pt x="232" y="1401"/>
                    <a:pt x="217" y="1409"/>
                    <a:pt x="202" y="1416"/>
                  </a:cubicBezTo>
                  <a:cubicBezTo>
                    <a:pt x="194" y="1416"/>
                    <a:pt x="194" y="1424"/>
                    <a:pt x="187" y="1424"/>
                  </a:cubicBezTo>
                  <a:cubicBezTo>
                    <a:pt x="172" y="1424"/>
                    <a:pt x="172" y="1416"/>
                    <a:pt x="157" y="1416"/>
                  </a:cubicBezTo>
                  <a:cubicBezTo>
                    <a:pt x="127" y="1416"/>
                    <a:pt x="112" y="1431"/>
                    <a:pt x="90" y="1446"/>
                  </a:cubicBezTo>
                  <a:cubicBezTo>
                    <a:pt x="90" y="1446"/>
                    <a:pt x="82" y="1446"/>
                    <a:pt x="82" y="1454"/>
                  </a:cubicBezTo>
                  <a:lnTo>
                    <a:pt x="82" y="1454"/>
                  </a:lnTo>
                  <a:cubicBezTo>
                    <a:pt x="74" y="1439"/>
                    <a:pt x="74" y="1431"/>
                    <a:pt x="74" y="1416"/>
                  </a:cubicBezTo>
                  <a:cubicBezTo>
                    <a:pt x="74" y="1401"/>
                    <a:pt x="82" y="1394"/>
                    <a:pt x="82" y="1379"/>
                  </a:cubicBezTo>
                  <a:cubicBezTo>
                    <a:pt x="82" y="1371"/>
                    <a:pt x="67" y="1364"/>
                    <a:pt x="67" y="1356"/>
                  </a:cubicBezTo>
                  <a:cubicBezTo>
                    <a:pt x="60" y="1349"/>
                    <a:pt x="52" y="1341"/>
                    <a:pt x="52" y="1334"/>
                  </a:cubicBezTo>
                  <a:cubicBezTo>
                    <a:pt x="37" y="1319"/>
                    <a:pt x="30" y="1319"/>
                    <a:pt x="15" y="1304"/>
                  </a:cubicBezTo>
                  <a:cubicBezTo>
                    <a:pt x="7" y="1304"/>
                    <a:pt x="0" y="1304"/>
                    <a:pt x="0" y="1296"/>
                  </a:cubicBezTo>
                  <a:cubicBezTo>
                    <a:pt x="0" y="1266"/>
                    <a:pt x="0" y="1251"/>
                    <a:pt x="15" y="1221"/>
                  </a:cubicBezTo>
                  <a:cubicBezTo>
                    <a:pt x="15" y="1206"/>
                    <a:pt x="30" y="1199"/>
                    <a:pt x="30" y="1184"/>
                  </a:cubicBezTo>
                  <a:cubicBezTo>
                    <a:pt x="30" y="1162"/>
                    <a:pt x="7" y="1154"/>
                    <a:pt x="7" y="1132"/>
                  </a:cubicBezTo>
                  <a:cubicBezTo>
                    <a:pt x="7" y="1116"/>
                    <a:pt x="15" y="1102"/>
                    <a:pt x="15" y="1086"/>
                  </a:cubicBezTo>
                  <a:cubicBezTo>
                    <a:pt x="15" y="1072"/>
                    <a:pt x="15" y="1064"/>
                    <a:pt x="15" y="1049"/>
                  </a:cubicBezTo>
                  <a:cubicBezTo>
                    <a:pt x="15" y="1034"/>
                    <a:pt x="22" y="1034"/>
                    <a:pt x="22" y="1019"/>
                  </a:cubicBezTo>
                  <a:cubicBezTo>
                    <a:pt x="22" y="1012"/>
                    <a:pt x="22" y="1004"/>
                    <a:pt x="22" y="997"/>
                  </a:cubicBezTo>
                  <a:cubicBezTo>
                    <a:pt x="30" y="974"/>
                    <a:pt x="44" y="959"/>
                    <a:pt x="60" y="944"/>
                  </a:cubicBezTo>
                  <a:cubicBezTo>
                    <a:pt x="74" y="937"/>
                    <a:pt x="90" y="937"/>
                    <a:pt x="97" y="922"/>
                  </a:cubicBezTo>
                  <a:cubicBezTo>
                    <a:pt x="112" y="892"/>
                    <a:pt x="112" y="869"/>
                    <a:pt x="134" y="854"/>
                  </a:cubicBezTo>
                  <a:cubicBezTo>
                    <a:pt x="150" y="847"/>
                    <a:pt x="157" y="839"/>
                    <a:pt x="172" y="832"/>
                  </a:cubicBezTo>
                  <a:cubicBezTo>
                    <a:pt x="172" y="794"/>
                    <a:pt x="172" y="794"/>
                    <a:pt x="172" y="794"/>
                  </a:cubicBezTo>
                  <a:cubicBezTo>
                    <a:pt x="142" y="794"/>
                    <a:pt x="142" y="794"/>
                    <a:pt x="142" y="794"/>
                  </a:cubicBezTo>
                  <a:cubicBezTo>
                    <a:pt x="142" y="787"/>
                    <a:pt x="134" y="779"/>
                    <a:pt x="134" y="772"/>
                  </a:cubicBezTo>
                  <a:cubicBezTo>
                    <a:pt x="134" y="757"/>
                    <a:pt x="150" y="757"/>
                    <a:pt x="157" y="749"/>
                  </a:cubicBezTo>
                  <a:cubicBezTo>
                    <a:pt x="164" y="742"/>
                    <a:pt x="172" y="734"/>
                    <a:pt x="180" y="727"/>
                  </a:cubicBezTo>
                  <a:lnTo>
                    <a:pt x="180" y="727"/>
                  </a:lnTo>
                  <a:cubicBezTo>
                    <a:pt x="187" y="734"/>
                    <a:pt x="187" y="742"/>
                    <a:pt x="202" y="749"/>
                  </a:cubicBezTo>
                  <a:cubicBezTo>
                    <a:pt x="217" y="742"/>
                    <a:pt x="224" y="727"/>
                    <a:pt x="239" y="719"/>
                  </a:cubicBezTo>
                  <a:cubicBezTo>
                    <a:pt x="239" y="719"/>
                    <a:pt x="247" y="719"/>
                    <a:pt x="247" y="712"/>
                  </a:cubicBezTo>
                  <a:cubicBezTo>
                    <a:pt x="262" y="704"/>
                    <a:pt x="269" y="689"/>
                    <a:pt x="277" y="674"/>
                  </a:cubicBezTo>
                  <a:lnTo>
                    <a:pt x="284" y="667"/>
                  </a:lnTo>
                  <a:cubicBezTo>
                    <a:pt x="284" y="637"/>
                    <a:pt x="269" y="622"/>
                    <a:pt x="269" y="592"/>
                  </a:cubicBezTo>
                  <a:cubicBezTo>
                    <a:pt x="269" y="577"/>
                    <a:pt x="269" y="562"/>
                    <a:pt x="262" y="555"/>
                  </a:cubicBezTo>
                  <a:cubicBezTo>
                    <a:pt x="254" y="539"/>
                    <a:pt x="239" y="532"/>
                    <a:pt x="239" y="517"/>
                  </a:cubicBezTo>
                  <a:cubicBezTo>
                    <a:pt x="239" y="472"/>
                    <a:pt x="239" y="472"/>
                    <a:pt x="239" y="472"/>
                  </a:cubicBezTo>
                  <a:cubicBezTo>
                    <a:pt x="239" y="465"/>
                    <a:pt x="247" y="465"/>
                    <a:pt x="247" y="457"/>
                  </a:cubicBezTo>
                  <a:cubicBezTo>
                    <a:pt x="239" y="442"/>
                    <a:pt x="217" y="450"/>
                    <a:pt x="209" y="442"/>
                  </a:cubicBezTo>
                  <a:cubicBezTo>
                    <a:pt x="202" y="435"/>
                    <a:pt x="202" y="427"/>
                    <a:pt x="202" y="420"/>
                  </a:cubicBezTo>
                  <a:cubicBezTo>
                    <a:pt x="194" y="390"/>
                    <a:pt x="187" y="375"/>
                    <a:pt x="172" y="345"/>
                  </a:cubicBezTo>
                  <a:cubicBezTo>
                    <a:pt x="187" y="307"/>
                    <a:pt x="187" y="307"/>
                    <a:pt x="187" y="307"/>
                  </a:cubicBezTo>
                  <a:cubicBezTo>
                    <a:pt x="180" y="285"/>
                    <a:pt x="187" y="270"/>
                    <a:pt x="180" y="255"/>
                  </a:cubicBezTo>
                  <a:cubicBezTo>
                    <a:pt x="172" y="240"/>
                    <a:pt x="164" y="247"/>
                    <a:pt x="150" y="232"/>
                  </a:cubicBezTo>
                  <a:cubicBezTo>
                    <a:pt x="142" y="225"/>
                    <a:pt x="134" y="217"/>
                    <a:pt x="127" y="20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135"/>
            <p:cNvSpPr>
              <a:spLocks noChangeArrowheads="1"/>
            </p:cNvSpPr>
            <p:nvPr/>
          </p:nvSpPr>
          <p:spPr bwMode="auto">
            <a:xfrm>
              <a:off x="5595968" y="7534392"/>
              <a:ext cx="2194749" cy="2440675"/>
            </a:xfrm>
            <a:custGeom>
              <a:avLst/>
              <a:gdLst>
                <a:gd name="T0" fmla="*/ 3221 w 5080"/>
                <a:gd name="T1" fmla="*/ 1018 h 5651"/>
                <a:gd name="T2" fmla="*/ 3468 w 5080"/>
                <a:gd name="T3" fmla="*/ 951 h 5651"/>
                <a:gd name="T4" fmla="*/ 3491 w 5080"/>
                <a:gd name="T5" fmla="*/ 412 h 5651"/>
                <a:gd name="T6" fmla="*/ 3228 w 5080"/>
                <a:gd name="T7" fmla="*/ 644 h 5651"/>
                <a:gd name="T8" fmla="*/ 37 w 5080"/>
                <a:gd name="T9" fmla="*/ 4526 h 5651"/>
                <a:gd name="T10" fmla="*/ 164 w 5080"/>
                <a:gd name="T11" fmla="*/ 4383 h 5651"/>
                <a:gd name="T12" fmla="*/ 397 w 5080"/>
                <a:gd name="T13" fmla="*/ 4323 h 5651"/>
                <a:gd name="T14" fmla="*/ 554 w 5080"/>
                <a:gd name="T15" fmla="*/ 4211 h 5651"/>
                <a:gd name="T16" fmla="*/ 741 w 5080"/>
                <a:gd name="T17" fmla="*/ 4046 h 5651"/>
                <a:gd name="T18" fmla="*/ 659 w 5080"/>
                <a:gd name="T19" fmla="*/ 3604 h 5651"/>
                <a:gd name="T20" fmla="*/ 1019 w 5080"/>
                <a:gd name="T21" fmla="*/ 3154 h 5651"/>
                <a:gd name="T22" fmla="*/ 1438 w 5080"/>
                <a:gd name="T23" fmla="*/ 2570 h 5651"/>
                <a:gd name="T24" fmla="*/ 1408 w 5080"/>
                <a:gd name="T25" fmla="*/ 2015 h 5651"/>
                <a:gd name="T26" fmla="*/ 1618 w 5080"/>
                <a:gd name="T27" fmla="*/ 1663 h 5651"/>
                <a:gd name="T28" fmla="*/ 2149 w 5080"/>
                <a:gd name="T29" fmla="*/ 1520 h 5651"/>
                <a:gd name="T30" fmla="*/ 2067 w 5080"/>
                <a:gd name="T31" fmla="*/ 1775 h 5651"/>
                <a:gd name="T32" fmla="*/ 1663 w 5080"/>
                <a:gd name="T33" fmla="*/ 1970 h 5651"/>
                <a:gd name="T34" fmla="*/ 1693 w 5080"/>
                <a:gd name="T35" fmla="*/ 2098 h 5651"/>
                <a:gd name="T36" fmla="*/ 2082 w 5080"/>
                <a:gd name="T37" fmla="*/ 2599 h 5651"/>
                <a:gd name="T38" fmla="*/ 2929 w 5080"/>
                <a:gd name="T39" fmla="*/ 2060 h 5651"/>
                <a:gd name="T40" fmla="*/ 3491 w 5080"/>
                <a:gd name="T41" fmla="*/ 1753 h 5651"/>
                <a:gd name="T42" fmla="*/ 3910 w 5080"/>
                <a:gd name="T43" fmla="*/ 1056 h 5651"/>
                <a:gd name="T44" fmla="*/ 4540 w 5080"/>
                <a:gd name="T45" fmla="*/ 531 h 5651"/>
                <a:gd name="T46" fmla="*/ 4727 w 5080"/>
                <a:gd name="T47" fmla="*/ 38 h 5651"/>
                <a:gd name="T48" fmla="*/ 4952 w 5080"/>
                <a:gd name="T49" fmla="*/ 300 h 5651"/>
                <a:gd name="T50" fmla="*/ 4825 w 5080"/>
                <a:gd name="T51" fmla="*/ 689 h 5651"/>
                <a:gd name="T52" fmla="*/ 4840 w 5080"/>
                <a:gd name="T53" fmla="*/ 1026 h 5651"/>
                <a:gd name="T54" fmla="*/ 4780 w 5080"/>
                <a:gd name="T55" fmla="*/ 1243 h 5651"/>
                <a:gd name="T56" fmla="*/ 4667 w 5080"/>
                <a:gd name="T57" fmla="*/ 1505 h 5651"/>
                <a:gd name="T58" fmla="*/ 4345 w 5080"/>
                <a:gd name="T59" fmla="*/ 1610 h 5651"/>
                <a:gd name="T60" fmla="*/ 4270 w 5080"/>
                <a:gd name="T61" fmla="*/ 1963 h 5651"/>
                <a:gd name="T62" fmla="*/ 4345 w 5080"/>
                <a:gd name="T63" fmla="*/ 2232 h 5651"/>
                <a:gd name="T64" fmla="*/ 4240 w 5080"/>
                <a:gd name="T65" fmla="*/ 2232 h 5651"/>
                <a:gd name="T66" fmla="*/ 4023 w 5080"/>
                <a:gd name="T67" fmla="*/ 2405 h 5651"/>
                <a:gd name="T68" fmla="*/ 3716 w 5080"/>
                <a:gd name="T69" fmla="*/ 2629 h 5651"/>
                <a:gd name="T70" fmla="*/ 3461 w 5080"/>
                <a:gd name="T71" fmla="*/ 2764 h 5651"/>
                <a:gd name="T72" fmla="*/ 3648 w 5080"/>
                <a:gd name="T73" fmla="*/ 3079 h 5651"/>
                <a:gd name="T74" fmla="*/ 3611 w 5080"/>
                <a:gd name="T75" fmla="*/ 3476 h 5651"/>
                <a:gd name="T76" fmla="*/ 3753 w 5080"/>
                <a:gd name="T77" fmla="*/ 3791 h 5651"/>
                <a:gd name="T78" fmla="*/ 4143 w 5080"/>
                <a:gd name="T79" fmla="*/ 4106 h 5651"/>
                <a:gd name="T80" fmla="*/ 4113 w 5080"/>
                <a:gd name="T81" fmla="*/ 4368 h 5651"/>
                <a:gd name="T82" fmla="*/ 4000 w 5080"/>
                <a:gd name="T83" fmla="*/ 4526 h 5651"/>
                <a:gd name="T84" fmla="*/ 4165 w 5080"/>
                <a:gd name="T85" fmla="*/ 4885 h 5651"/>
                <a:gd name="T86" fmla="*/ 4180 w 5080"/>
                <a:gd name="T87" fmla="*/ 5245 h 5651"/>
                <a:gd name="T88" fmla="*/ 3820 w 5080"/>
                <a:gd name="T89" fmla="*/ 5545 h 5651"/>
                <a:gd name="T90" fmla="*/ 3806 w 5080"/>
                <a:gd name="T91" fmla="*/ 5035 h 5651"/>
                <a:gd name="T92" fmla="*/ 3716 w 5080"/>
                <a:gd name="T93" fmla="*/ 4900 h 5651"/>
                <a:gd name="T94" fmla="*/ 3333 w 5080"/>
                <a:gd name="T95" fmla="*/ 5207 h 5651"/>
                <a:gd name="T96" fmla="*/ 2921 w 5080"/>
                <a:gd name="T97" fmla="*/ 5537 h 5651"/>
                <a:gd name="T98" fmla="*/ 2209 w 5080"/>
                <a:gd name="T99" fmla="*/ 5560 h 5651"/>
                <a:gd name="T100" fmla="*/ 1955 w 5080"/>
                <a:gd name="T101" fmla="*/ 5545 h 5651"/>
                <a:gd name="T102" fmla="*/ 1866 w 5080"/>
                <a:gd name="T103" fmla="*/ 5372 h 5651"/>
                <a:gd name="T104" fmla="*/ 1738 w 5080"/>
                <a:gd name="T105" fmla="*/ 5462 h 5651"/>
                <a:gd name="T106" fmla="*/ 1528 w 5080"/>
                <a:gd name="T107" fmla="*/ 5013 h 5651"/>
                <a:gd name="T108" fmla="*/ 1333 w 5080"/>
                <a:gd name="T109" fmla="*/ 4848 h 5651"/>
                <a:gd name="T110" fmla="*/ 1079 w 5080"/>
                <a:gd name="T111" fmla="*/ 4653 h 5651"/>
                <a:gd name="T112" fmla="*/ 1034 w 5080"/>
                <a:gd name="T113" fmla="*/ 4308 h 5651"/>
                <a:gd name="T114" fmla="*/ 809 w 5080"/>
                <a:gd name="T115" fmla="*/ 4113 h 5651"/>
                <a:gd name="T116" fmla="*/ 711 w 5080"/>
                <a:gd name="T117" fmla="*/ 4323 h 5651"/>
                <a:gd name="T118" fmla="*/ 531 w 5080"/>
                <a:gd name="T119" fmla="*/ 4466 h 5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80" h="5651">
                  <a:moveTo>
                    <a:pt x="3184" y="719"/>
                  </a:moveTo>
                  <a:lnTo>
                    <a:pt x="3184" y="719"/>
                  </a:lnTo>
                  <a:cubicBezTo>
                    <a:pt x="3184" y="726"/>
                    <a:pt x="3184" y="734"/>
                    <a:pt x="3184" y="749"/>
                  </a:cubicBezTo>
                  <a:cubicBezTo>
                    <a:pt x="3184" y="786"/>
                    <a:pt x="3184" y="816"/>
                    <a:pt x="3184" y="853"/>
                  </a:cubicBezTo>
                  <a:cubicBezTo>
                    <a:pt x="3221" y="839"/>
                    <a:pt x="3228" y="816"/>
                    <a:pt x="3258" y="794"/>
                  </a:cubicBezTo>
                  <a:cubicBezTo>
                    <a:pt x="3273" y="816"/>
                    <a:pt x="3296" y="823"/>
                    <a:pt x="3296" y="853"/>
                  </a:cubicBezTo>
                  <a:cubicBezTo>
                    <a:pt x="3296" y="883"/>
                    <a:pt x="3258" y="883"/>
                    <a:pt x="3243" y="906"/>
                  </a:cubicBezTo>
                  <a:cubicBezTo>
                    <a:pt x="3236" y="921"/>
                    <a:pt x="3236" y="943"/>
                    <a:pt x="3236" y="966"/>
                  </a:cubicBezTo>
                  <a:cubicBezTo>
                    <a:pt x="3236" y="988"/>
                    <a:pt x="3236" y="1003"/>
                    <a:pt x="3221" y="1018"/>
                  </a:cubicBezTo>
                  <a:cubicBezTo>
                    <a:pt x="3214" y="1026"/>
                    <a:pt x="3198" y="1026"/>
                    <a:pt x="3184" y="1026"/>
                  </a:cubicBezTo>
                  <a:cubicBezTo>
                    <a:pt x="3176" y="1033"/>
                    <a:pt x="3168" y="1041"/>
                    <a:pt x="3161" y="1048"/>
                  </a:cubicBezTo>
                  <a:cubicBezTo>
                    <a:pt x="3161" y="1086"/>
                    <a:pt x="3161" y="1086"/>
                    <a:pt x="3161" y="1086"/>
                  </a:cubicBezTo>
                  <a:cubicBezTo>
                    <a:pt x="3168" y="1086"/>
                    <a:pt x="3176" y="1086"/>
                    <a:pt x="3184" y="1086"/>
                  </a:cubicBezTo>
                  <a:cubicBezTo>
                    <a:pt x="3206" y="1086"/>
                    <a:pt x="3206" y="1071"/>
                    <a:pt x="3221" y="1071"/>
                  </a:cubicBezTo>
                  <a:cubicBezTo>
                    <a:pt x="3258" y="1056"/>
                    <a:pt x="3273" y="1041"/>
                    <a:pt x="3311" y="1033"/>
                  </a:cubicBezTo>
                  <a:cubicBezTo>
                    <a:pt x="3333" y="1026"/>
                    <a:pt x="3356" y="1026"/>
                    <a:pt x="3378" y="1018"/>
                  </a:cubicBezTo>
                  <a:cubicBezTo>
                    <a:pt x="3401" y="1003"/>
                    <a:pt x="3408" y="988"/>
                    <a:pt x="3431" y="973"/>
                  </a:cubicBezTo>
                  <a:cubicBezTo>
                    <a:pt x="3446" y="966"/>
                    <a:pt x="3461" y="966"/>
                    <a:pt x="3468" y="951"/>
                  </a:cubicBezTo>
                  <a:cubicBezTo>
                    <a:pt x="3498" y="921"/>
                    <a:pt x="3498" y="899"/>
                    <a:pt x="3513" y="861"/>
                  </a:cubicBezTo>
                  <a:cubicBezTo>
                    <a:pt x="3528" y="808"/>
                    <a:pt x="3543" y="779"/>
                    <a:pt x="3566" y="726"/>
                  </a:cubicBezTo>
                  <a:cubicBezTo>
                    <a:pt x="3558" y="704"/>
                    <a:pt x="3558" y="704"/>
                    <a:pt x="3558" y="704"/>
                  </a:cubicBezTo>
                  <a:cubicBezTo>
                    <a:pt x="3378" y="704"/>
                    <a:pt x="3378" y="704"/>
                    <a:pt x="3378" y="704"/>
                  </a:cubicBezTo>
                  <a:cubicBezTo>
                    <a:pt x="3378" y="704"/>
                    <a:pt x="3378" y="696"/>
                    <a:pt x="3378" y="689"/>
                  </a:cubicBezTo>
                  <a:cubicBezTo>
                    <a:pt x="3378" y="681"/>
                    <a:pt x="3378" y="674"/>
                    <a:pt x="3386" y="666"/>
                  </a:cubicBezTo>
                  <a:cubicBezTo>
                    <a:pt x="3401" y="629"/>
                    <a:pt x="3423" y="614"/>
                    <a:pt x="3446" y="591"/>
                  </a:cubicBezTo>
                  <a:cubicBezTo>
                    <a:pt x="3468" y="569"/>
                    <a:pt x="3476" y="546"/>
                    <a:pt x="3476" y="516"/>
                  </a:cubicBezTo>
                  <a:cubicBezTo>
                    <a:pt x="3483" y="471"/>
                    <a:pt x="3483" y="449"/>
                    <a:pt x="3491" y="412"/>
                  </a:cubicBezTo>
                  <a:cubicBezTo>
                    <a:pt x="3498" y="390"/>
                    <a:pt x="3506" y="375"/>
                    <a:pt x="3506" y="352"/>
                  </a:cubicBezTo>
                  <a:cubicBezTo>
                    <a:pt x="3506" y="345"/>
                    <a:pt x="3491" y="345"/>
                    <a:pt x="3491" y="345"/>
                  </a:cubicBezTo>
                  <a:cubicBezTo>
                    <a:pt x="3476" y="337"/>
                    <a:pt x="3461" y="337"/>
                    <a:pt x="3453" y="345"/>
                  </a:cubicBezTo>
                  <a:cubicBezTo>
                    <a:pt x="3438" y="345"/>
                    <a:pt x="3431" y="352"/>
                    <a:pt x="3431" y="360"/>
                  </a:cubicBezTo>
                  <a:cubicBezTo>
                    <a:pt x="3423" y="375"/>
                    <a:pt x="3431" y="390"/>
                    <a:pt x="3423" y="397"/>
                  </a:cubicBezTo>
                  <a:cubicBezTo>
                    <a:pt x="3416" y="426"/>
                    <a:pt x="3393" y="441"/>
                    <a:pt x="3363" y="449"/>
                  </a:cubicBezTo>
                  <a:cubicBezTo>
                    <a:pt x="3348" y="449"/>
                    <a:pt x="3341" y="464"/>
                    <a:pt x="3333" y="479"/>
                  </a:cubicBezTo>
                  <a:cubicBezTo>
                    <a:pt x="3303" y="524"/>
                    <a:pt x="3266" y="546"/>
                    <a:pt x="3243" y="599"/>
                  </a:cubicBezTo>
                  <a:cubicBezTo>
                    <a:pt x="3236" y="614"/>
                    <a:pt x="3236" y="629"/>
                    <a:pt x="3228" y="644"/>
                  </a:cubicBezTo>
                  <a:cubicBezTo>
                    <a:pt x="3214" y="674"/>
                    <a:pt x="3184" y="681"/>
                    <a:pt x="3184" y="719"/>
                  </a:cubicBezTo>
                  <a:close/>
                  <a:moveTo>
                    <a:pt x="374" y="4570"/>
                  </a:moveTo>
                  <a:lnTo>
                    <a:pt x="374" y="4570"/>
                  </a:lnTo>
                  <a:lnTo>
                    <a:pt x="374" y="4570"/>
                  </a:lnTo>
                  <a:cubicBezTo>
                    <a:pt x="337" y="4570"/>
                    <a:pt x="299" y="4586"/>
                    <a:pt x="262" y="4578"/>
                  </a:cubicBezTo>
                  <a:cubicBezTo>
                    <a:pt x="239" y="4578"/>
                    <a:pt x="232" y="4563"/>
                    <a:pt x="209" y="4556"/>
                  </a:cubicBezTo>
                  <a:cubicBezTo>
                    <a:pt x="179" y="4540"/>
                    <a:pt x="149" y="4540"/>
                    <a:pt x="112" y="4540"/>
                  </a:cubicBezTo>
                  <a:cubicBezTo>
                    <a:pt x="82" y="4540"/>
                    <a:pt x="67" y="4548"/>
                    <a:pt x="37" y="4548"/>
                  </a:cubicBezTo>
                  <a:cubicBezTo>
                    <a:pt x="37" y="4526"/>
                    <a:pt x="37" y="4526"/>
                    <a:pt x="37" y="4526"/>
                  </a:cubicBezTo>
                  <a:cubicBezTo>
                    <a:pt x="44" y="4503"/>
                    <a:pt x="52" y="4481"/>
                    <a:pt x="52" y="4458"/>
                  </a:cubicBezTo>
                  <a:cubicBezTo>
                    <a:pt x="52" y="4443"/>
                    <a:pt x="37" y="4443"/>
                    <a:pt x="29" y="4428"/>
                  </a:cubicBezTo>
                  <a:cubicBezTo>
                    <a:pt x="22" y="4413"/>
                    <a:pt x="22" y="4406"/>
                    <a:pt x="22" y="4391"/>
                  </a:cubicBezTo>
                  <a:cubicBezTo>
                    <a:pt x="14" y="4368"/>
                    <a:pt x="0" y="4361"/>
                    <a:pt x="0" y="4338"/>
                  </a:cubicBezTo>
                  <a:cubicBezTo>
                    <a:pt x="0" y="4316"/>
                    <a:pt x="7" y="4301"/>
                    <a:pt x="14" y="4278"/>
                  </a:cubicBezTo>
                  <a:lnTo>
                    <a:pt x="14" y="4278"/>
                  </a:lnTo>
                  <a:cubicBezTo>
                    <a:pt x="22" y="4293"/>
                    <a:pt x="22" y="4308"/>
                    <a:pt x="37" y="4323"/>
                  </a:cubicBezTo>
                  <a:cubicBezTo>
                    <a:pt x="60" y="4346"/>
                    <a:pt x="82" y="4338"/>
                    <a:pt x="112" y="4346"/>
                  </a:cubicBezTo>
                  <a:cubicBezTo>
                    <a:pt x="134" y="4353"/>
                    <a:pt x="142" y="4376"/>
                    <a:pt x="164" y="4383"/>
                  </a:cubicBezTo>
                  <a:cubicBezTo>
                    <a:pt x="179" y="4391"/>
                    <a:pt x="187" y="4391"/>
                    <a:pt x="202" y="4398"/>
                  </a:cubicBezTo>
                  <a:cubicBezTo>
                    <a:pt x="209" y="4376"/>
                    <a:pt x="209" y="4353"/>
                    <a:pt x="217" y="4331"/>
                  </a:cubicBezTo>
                  <a:cubicBezTo>
                    <a:pt x="232" y="4331"/>
                    <a:pt x="232" y="4331"/>
                    <a:pt x="232" y="4331"/>
                  </a:cubicBezTo>
                  <a:cubicBezTo>
                    <a:pt x="239" y="4353"/>
                    <a:pt x="247" y="4383"/>
                    <a:pt x="277" y="4383"/>
                  </a:cubicBezTo>
                  <a:cubicBezTo>
                    <a:pt x="284" y="4383"/>
                    <a:pt x="284" y="4376"/>
                    <a:pt x="284" y="4376"/>
                  </a:cubicBezTo>
                  <a:cubicBezTo>
                    <a:pt x="307" y="4368"/>
                    <a:pt x="329" y="4361"/>
                    <a:pt x="337" y="4338"/>
                  </a:cubicBezTo>
                  <a:cubicBezTo>
                    <a:pt x="322" y="4308"/>
                    <a:pt x="322" y="4308"/>
                    <a:pt x="322" y="4308"/>
                  </a:cubicBezTo>
                  <a:lnTo>
                    <a:pt x="329" y="4301"/>
                  </a:lnTo>
                  <a:cubicBezTo>
                    <a:pt x="359" y="4308"/>
                    <a:pt x="367" y="4323"/>
                    <a:pt x="397" y="4323"/>
                  </a:cubicBezTo>
                  <a:cubicBezTo>
                    <a:pt x="404" y="4323"/>
                    <a:pt x="412" y="4308"/>
                    <a:pt x="419" y="4301"/>
                  </a:cubicBezTo>
                  <a:cubicBezTo>
                    <a:pt x="419" y="4301"/>
                    <a:pt x="427" y="4301"/>
                    <a:pt x="427" y="4293"/>
                  </a:cubicBezTo>
                  <a:cubicBezTo>
                    <a:pt x="442" y="4278"/>
                    <a:pt x="442" y="4263"/>
                    <a:pt x="442" y="4241"/>
                  </a:cubicBezTo>
                  <a:cubicBezTo>
                    <a:pt x="449" y="4226"/>
                    <a:pt x="457" y="4218"/>
                    <a:pt x="464" y="4203"/>
                  </a:cubicBezTo>
                  <a:cubicBezTo>
                    <a:pt x="464" y="4211"/>
                    <a:pt x="472" y="4203"/>
                    <a:pt x="479" y="4211"/>
                  </a:cubicBezTo>
                  <a:cubicBezTo>
                    <a:pt x="487" y="4233"/>
                    <a:pt x="479" y="4248"/>
                    <a:pt x="479" y="4271"/>
                  </a:cubicBezTo>
                  <a:cubicBezTo>
                    <a:pt x="487" y="4278"/>
                    <a:pt x="487" y="4286"/>
                    <a:pt x="494" y="4286"/>
                  </a:cubicBezTo>
                  <a:cubicBezTo>
                    <a:pt x="502" y="4271"/>
                    <a:pt x="509" y="4256"/>
                    <a:pt x="517" y="4233"/>
                  </a:cubicBezTo>
                  <a:cubicBezTo>
                    <a:pt x="524" y="4218"/>
                    <a:pt x="539" y="4218"/>
                    <a:pt x="554" y="4211"/>
                  </a:cubicBezTo>
                  <a:cubicBezTo>
                    <a:pt x="584" y="4196"/>
                    <a:pt x="614" y="4188"/>
                    <a:pt x="614" y="4158"/>
                  </a:cubicBezTo>
                  <a:cubicBezTo>
                    <a:pt x="614" y="4121"/>
                    <a:pt x="599" y="4098"/>
                    <a:pt x="599" y="4068"/>
                  </a:cubicBezTo>
                  <a:cubicBezTo>
                    <a:pt x="599" y="4061"/>
                    <a:pt x="607" y="4061"/>
                    <a:pt x="614" y="4061"/>
                  </a:cubicBezTo>
                  <a:cubicBezTo>
                    <a:pt x="621" y="4046"/>
                    <a:pt x="637" y="4046"/>
                    <a:pt x="651" y="4046"/>
                  </a:cubicBezTo>
                  <a:cubicBezTo>
                    <a:pt x="651" y="4046"/>
                    <a:pt x="659" y="4046"/>
                    <a:pt x="659" y="4053"/>
                  </a:cubicBezTo>
                  <a:cubicBezTo>
                    <a:pt x="659" y="4061"/>
                    <a:pt x="651" y="4068"/>
                    <a:pt x="651" y="4083"/>
                  </a:cubicBezTo>
                  <a:cubicBezTo>
                    <a:pt x="651" y="4098"/>
                    <a:pt x="667" y="4113"/>
                    <a:pt x="667" y="4128"/>
                  </a:cubicBezTo>
                  <a:cubicBezTo>
                    <a:pt x="674" y="4143"/>
                    <a:pt x="681" y="4158"/>
                    <a:pt x="689" y="4166"/>
                  </a:cubicBezTo>
                  <a:cubicBezTo>
                    <a:pt x="726" y="4128"/>
                    <a:pt x="741" y="4098"/>
                    <a:pt x="741" y="4046"/>
                  </a:cubicBezTo>
                  <a:cubicBezTo>
                    <a:pt x="741" y="4031"/>
                    <a:pt x="734" y="4023"/>
                    <a:pt x="726" y="4016"/>
                  </a:cubicBezTo>
                  <a:cubicBezTo>
                    <a:pt x="719" y="3993"/>
                    <a:pt x="719" y="3978"/>
                    <a:pt x="711" y="3948"/>
                  </a:cubicBezTo>
                  <a:cubicBezTo>
                    <a:pt x="704" y="3934"/>
                    <a:pt x="704" y="3918"/>
                    <a:pt x="696" y="3904"/>
                  </a:cubicBezTo>
                  <a:cubicBezTo>
                    <a:pt x="689" y="3888"/>
                    <a:pt x="689" y="3874"/>
                    <a:pt x="681" y="3866"/>
                  </a:cubicBezTo>
                  <a:cubicBezTo>
                    <a:pt x="674" y="3851"/>
                    <a:pt x="667" y="3851"/>
                    <a:pt x="659" y="3844"/>
                  </a:cubicBezTo>
                  <a:cubicBezTo>
                    <a:pt x="637" y="3814"/>
                    <a:pt x="629" y="3798"/>
                    <a:pt x="621" y="3761"/>
                  </a:cubicBezTo>
                  <a:cubicBezTo>
                    <a:pt x="607" y="3739"/>
                    <a:pt x="591" y="3724"/>
                    <a:pt x="591" y="3694"/>
                  </a:cubicBezTo>
                  <a:cubicBezTo>
                    <a:pt x="591" y="3671"/>
                    <a:pt x="621" y="3671"/>
                    <a:pt x="637" y="3656"/>
                  </a:cubicBezTo>
                  <a:cubicBezTo>
                    <a:pt x="651" y="3641"/>
                    <a:pt x="651" y="3626"/>
                    <a:pt x="659" y="3604"/>
                  </a:cubicBezTo>
                  <a:cubicBezTo>
                    <a:pt x="674" y="3574"/>
                    <a:pt x="674" y="3551"/>
                    <a:pt x="696" y="3514"/>
                  </a:cubicBezTo>
                  <a:cubicBezTo>
                    <a:pt x="704" y="3491"/>
                    <a:pt x="719" y="3476"/>
                    <a:pt x="734" y="3454"/>
                  </a:cubicBezTo>
                  <a:cubicBezTo>
                    <a:pt x="741" y="3439"/>
                    <a:pt x="741" y="3431"/>
                    <a:pt x="741" y="3416"/>
                  </a:cubicBezTo>
                  <a:cubicBezTo>
                    <a:pt x="749" y="3387"/>
                    <a:pt x="756" y="3371"/>
                    <a:pt x="764" y="3341"/>
                  </a:cubicBezTo>
                  <a:cubicBezTo>
                    <a:pt x="794" y="3334"/>
                    <a:pt x="809" y="3327"/>
                    <a:pt x="831" y="3311"/>
                  </a:cubicBezTo>
                  <a:cubicBezTo>
                    <a:pt x="861" y="3289"/>
                    <a:pt x="869" y="3281"/>
                    <a:pt x="891" y="3259"/>
                  </a:cubicBezTo>
                  <a:cubicBezTo>
                    <a:pt x="906" y="3244"/>
                    <a:pt x="921" y="3244"/>
                    <a:pt x="929" y="3229"/>
                  </a:cubicBezTo>
                  <a:cubicBezTo>
                    <a:pt x="944" y="3207"/>
                    <a:pt x="951" y="3192"/>
                    <a:pt x="966" y="3177"/>
                  </a:cubicBezTo>
                  <a:cubicBezTo>
                    <a:pt x="981" y="3169"/>
                    <a:pt x="996" y="3162"/>
                    <a:pt x="1019" y="3154"/>
                  </a:cubicBezTo>
                  <a:cubicBezTo>
                    <a:pt x="1041" y="3147"/>
                    <a:pt x="1056" y="3132"/>
                    <a:pt x="1079" y="3109"/>
                  </a:cubicBezTo>
                  <a:cubicBezTo>
                    <a:pt x="1086" y="3102"/>
                    <a:pt x="1101" y="3094"/>
                    <a:pt x="1116" y="3087"/>
                  </a:cubicBezTo>
                  <a:cubicBezTo>
                    <a:pt x="1131" y="3064"/>
                    <a:pt x="1139" y="3057"/>
                    <a:pt x="1154" y="3034"/>
                  </a:cubicBezTo>
                  <a:cubicBezTo>
                    <a:pt x="1169" y="3012"/>
                    <a:pt x="1176" y="2997"/>
                    <a:pt x="1191" y="2982"/>
                  </a:cubicBezTo>
                  <a:cubicBezTo>
                    <a:pt x="1199" y="2974"/>
                    <a:pt x="1206" y="2974"/>
                    <a:pt x="1206" y="2974"/>
                  </a:cubicBezTo>
                  <a:cubicBezTo>
                    <a:pt x="1214" y="2952"/>
                    <a:pt x="1221" y="2937"/>
                    <a:pt x="1236" y="2922"/>
                  </a:cubicBezTo>
                  <a:cubicBezTo>
                    <a:pt x="1273" y="2862"/>
                    <a:pt x="1289" y="2824"/>
                    <a:pt x="1326" y="2757"/>
                  </a:cubicBezTo>
                  <a:cubicBezTo>
                    <a:pt x="1349" y="2712"/>
                    <a:pt x="1379" y="2682"/>
                    <a:pt x="1401" y="2637"/>
                  </a:cubicBezTo>
                  <a:cubicBezTo>
                    <a:pt x="1416" y="2615"/>
                    <a:pt x="1423" y="2592"/>
                    <a:pt x="1438" y="2570"/>
                  </a:cubicBezTo>
                  <a:cubicBezTo>
                    <a:pt x="1446" y="2555"/>
                    <a:pt x="1453" y="2547"/>
                    <a:pt x="1468" y="2532"/>
                  </a:cubicBezTo>
                  <a:cubicBezTo>
                    <a:pt x="1476" y="2510"/>
                    <a:pt x="1483" y="2495"/>
                    <a:pt x="1491" y="2465"/>
                  </a:cubicBezTo>
                  <a:cubicBezTo>
                    <a:pt x="1506" y="2435"/>
                    <a:pt x="1513" y="2412"/>
                    <a:pt x="1513" y="2375"/>
                  </a:cubicBezTo>
                  <a:cubicBezTo>
                    <a:pt x="1513" y="2322"/>
                    <a:pt x="1513" y="2292"/>
                    <a:pt x="1513" y="2240"/>
                  </a:cubicBezTo>
                  <a:cubicBezTo>
                    <a:pt x="1513" y="2225"/>
                    <a:pt x="1506" y="2217"/>
                    <a:pt x="1506" y="2202"/>
                  </a:cubicBezTo>
                  <a:cubicBezTo>
                    <a:pt x="1491" y="2142"/>
                    <a:pt x="1476" y="2105"/>
                    <a:pt x="1461" y="2038"/>
                  </a:cubicBezTo>
                  <a:cubicBezTo>
                    <a:pt x="1446" y="2045"/>
                    <a:pt x="1438" y="2045"/>
                    <a:pt x="1423" y="2052"/>
                  </a:cubicBezTo>
                  <a:cubicBezTo>
                    <a:pt x="1408" y="2045"/>
                    <a:pt x="1408" y="2045"/>
                    <a:pt x="1408" y="2045"/>
                  </a:cubicBezTo>
                  <a:cubicBezTo>
                    <a:pt x="1408" y="2038"/>
                    <a:pt x="1408" y="2030"/>
                    <a:pt x="1408" y="2015"/>
                  </a:cubicBezTo>
                  <a:cubicBezTo>
                    <a:pt x="1408" y="1985"/>
                    <a:pt x="1408" y="1963"/>
                    <a:pt x="1423" y="1933"/>
                  </a:cubicBezTo>
                  <a:cubicBezTo>
                    <a:pt x="1423" y="1925"/>
                    <a:pt x="1423" y="1925"/>
                    <a:pt x="1423" y="1918"/>
                  </a:cubicBezTo>
                  <a:cubicBezTo>
                    <a:pt x="1431" y="1910"/>
                    <a:pt x="1438" y="1903"/>
                    <a:pt x="1446" y="1895"/>
                  </a:cubicBezTo>
                  <a:cubicBezTo>
                    <a:pt x="1453" y="1888"/>
                    <a:pt x="1461" y="1873"/>
                    <a:pt x="1461" y="1858"/>
                  </a:cubicBezTo>
                  <a:cubicBezTo>
                    <a:pt x="1468" y="1835"/>
                    <a:pt x="1476" y="1828"/>
                    <a:pt x="1476" y="1805"/>
                  </a:cubicBezTo>
                  <a:cubicBezTo>
                    <a:pt x="1476" y="1738"/>
                    <a:pt x="1476" y="1738"/>
                    <a:pt x="1476" y="1738"/>
                  </a:cubicBezTo>
                  <a:cubicBezTo>
                    <a:pt x="1476" y="1723"/>
                    <a:pt x="1498" y="1723"/>
                    <a:pt x="1506" y="1715"/>
                  </a:cubicBezTo>
                  <a:cubicBezTo>
                    <a:pt x="1521" y="1708"/>
                    <a:pt x="1536" y="1700"/>
                    <a:pt x="1543" y="1700"/>
                  </a:cubicBezTo>
                  <a:cubicBezTo>
                    <a:pt x="1573" y="1685"/>
                    <a:pt x="1588" y="1663"/>
                    <a:pt x="1618" y="1663"/>
                  </a:cubicBezTo>
                  <a:cubicBezTo>
                    <a:pt x="1641" y="1663"/>
                    <a:pt x="1648" y="1693"/>
                    <a:pt x="1678" y="1693"/>
                  </a:cubicBezTo>
                  <a:cubicBezTo>
                    <a:pt x="1693" y="1693"/>
                    <a:pt x="1701" y="1678"/>
                    <a:pt x="1708" y="1678"/>
                  </a:cubicBezTo>
                  <a:cubicBezTo>
                    <a:pt x="1723" y="1663"/>
                    <a:pt x="1731" y="1655"/>
                    <a:pt x="1746" y="1648"/>
                  </a:cubicBezTo>
                  <a:cubicBezTo>
                    <a:pt x="1761" y="1633"/>
                    <a:pt x="1776" y="1625"/>
                    <a:pt x="1791" y="1618"/>
                  </a:cubicBezTo>
                  <a:cubicBezTo>
                    <a:pt x="1836" y="1595"/>
                    <a:pt x="1858" y="1573"/>
                    <a:pt x="1896" y="1550"/>
                  </a:cubicBezTo>
                  <a:cubicBezTo>
                    <a:pt x="1926" y="1528"/>
                    <a:pt x="1948" y="1513"/>
                    <a:pt x="1985" y="1505"/>
                  </a:cubicBezTo>
                  <a:cubicBezTo>
                    <a:pt x="2000" y="1505"/>
                    <a:pt x="2008" y="1505"/>
                    <a:pt x="2023" y="1505"/>
                  </a:cubicBezTo>
                  <a:cubicBezTo>
                    <a:pt x="2059" y="1498"/>
                    <a:pt x="2074" y="1490"/>
                    <a:pt x="2112" y="1490"/>
                  </a:cubicBezTo>
                  <a:cubicBezTo>
                    <a:pt x="2127" y="1490"/>
                    <a:pt x="2142" y="1505"/>
                    <a:pt x="2149" y="1520"/>
                  </a:cubicBezTo>
                  <a:cubicBezTo>
                    <a:pt x="2157" y="1528"/>
                    <a:pt x="2149" y="1535"/>
                    <a:pt x="2157" y="1543"/>
                  </a:cubicBezTo>
                  <a:cubicBezTo>
                    <a:pt x="2157" y="1565"/>
                    <a:pt x="2172" y="1573"/>
                    <a:pt x="2172" y="1588"/>
                  </a:cubicBezTo>
                  <a:cubicBezTo>
                    <a:pt x="2172" y="1603"/>
                    <a:pt x="2164" y="1610"/>
                    <a:pt x="2149" y="1618"/>
                  </a:cubicBezTo>
                  <a:cubicBezTo>
                    <a:pt x="2127" y="1618"/>
                    <a:pt x="2112" y="1610"/>
                    <a:pt x="2089" y="1618"/>
                  </a:cubicBezTo>
                  <a:cubicBezTo>
                    <a:pt x="2074" y="1625"/>
                    <a:pt x="2074" y="1640"/>
                    <a:pt x="2067" y="1655"/>
                  </a:cubicBezTo>
                  <a:cubicBezTo>
                    <a:pt x="2059" y="1670"/>
                    <a:pt x="2052" y="1678"/>
                    <a:pt x="2052" y="1700"/>
                  </a:cubicBezTo>
                  <a:cubicBezTo>
                    <a:pt x="2052" y="1708"/>
                    <a:pt x="2052" y="1708"/>
                    <a:pt x="2059" y="1715"/>
                  </a:cubicBezTo>
                  <a:cubicBezTo>
                    <a:pt x="2059" y="1738"/>
                    <a:pt x="2059" y="1745"/>
                    <a:pt x="2059" y="1768"/>
                  </a:cubicBezTo>
                  <a:cubicBezTo>
                    <a:pt x="2067" y="1768"/>
                    <a:pt x="2067" y="1775"/>
                    <a:pt x="2067" y="1775"/>
                  </a:cubicBezTo>
                  <a:cubicBezTo>
                    <a:pt x="2067" y="1790"/>
                    <a:pt x="2052" y="1805"/>
                    <a:pt x="2044" y="1805"/>
                  </a:cubicBezTo>
                  <a:cubicBezTo>
                    <a:pt x="2023" y="1813"/>
                    <a:pt x="2008" y="1813"/>
                    <a:pt x="1993" y="1813"/>
                  </a:cubicBezTo>
                  <a:cubicBezTo>
                    <a:pt x="1970" y="1820"/>
                    <a:pt x="1963" y="1828"/>
                    <a:pt x="1940" y="1835"/>
                  </a:cubicBezTo>
                  <a:cubicBezTo>
                    <a:pt x="1926" y="1843"/>
                    <a:pt x="1910" y="1850"/>
                    <a:pt x="1903" y="1865"/>
                  </a:cubicBezTo>
                  <a:cubicBezTo>
                    <a:pt x="1888" y="1895"/>
                    <a:pt x="1888" y="1933"/>
                    <a:pt x="1850" y="1955"/>
                  </a:cubicBezTo>
                  <a:cubicBezTo>
                    <a:pt x="1828" y="1970"/>
                    <a:pt x="1806" y="1978"/>
                    <a:pt x="1776" y="1978"/>
                  </a:cubicBezTo>
                  <a:cubicBezTo>
                    <a:pt x="1738" y="1978"/>
                    <a:pt x="1738" y="1910"/>
                    <a:pt x="1701" y="1910"/>
                  </a:cubicBezTo>
                  <a:cubicBezTo>
                    <a:pt x="1693" y="1910"/>
                    <a:pt x="1693" y="1925"/>
                    <a:pt x="1686" y="1940"/>
                  </a:cubicBezTo>
                  <a:cubicBezTo>
                    <a:pt x="1678" y="1955"/>
                    <a:pt x="1678" y="1963"/>
                    <a:pt x="1663" y="1970"/>
                  </a:cubicBezTo>
                  <a:cubicBezTo>
                    <a:pt x="1648" y="1985"/>
                    <a:pt x="1633" y="1985"/>
                    <a:pt x="1626" y="2000"/>
                  </a:cubicBezTo>
                  <a:cubicBezTo>
                    <a:pt x="1618" y="2000"/>
                    <a:pt x="1618" y="2008"/>
                    <a:pt x="1618" y="2015"/>
                  </a:cubicBezTo>
                  <a:cubicBezTo>
                    <a:pt x="1641" y="2030"/>
                    <a:pt x="1656" y="2045"/>
                    <a:pt x="1671" y="2068"/>
                  </a:cubicBezTo>
                  <a:cubicBezTo>
                    <a:pt x="1701" y="2052"/>
                    <a:pt x="1716" y="2023"/>
                    <a:pt x="1753" y="2023"/>
                  </a:cubicBezTo>
                  <a:cubicBezTo>
                    <a:pt x="1761" y="2023"/>
                    <a:pt x="1761" y="2038"/>
                    <a:pt x="1768" y="2038"/>
                  </a:cubicBezTo>
                  <a:cubicBezTo>
                    <a:pt x="1791" y="2038"/>
                    <a:pt x="1798" y="2030"/>
                    <a:pt x="1820" y="2023"/>
                  </a:cubicBezTo>
                  <a:cubicBezTo>
                    <a:pt x="1828" y="2038"/>
                    <a:pt x="1828" y="2038"/>
                    <a:pt x="1828" y="2038"/>
                  </a:cubicBezTo>
                  <a:cubicBezTo>
                    <a:pt x="1806" y="2068"/>
                    <a:pt x="1783" y="2075"/>
                    <a:pt x="1746" y="2090"/>
                  </a:cubicBezTo>
                  <a:cubicBezTo>
                    <a:pt x="1723" y="2098"/>
                    <a:pt x="1716" y="2105"/>
                    <a:pt x="1693" y="2098"/>
                  </a:cubicBezTo>
                  <a:cubicBezTo>
                    <a:pt x="1686" y="2112"/>
                    <a:pt x="1686" y="2112"/>
                    <a:pt x="1686" y="2112"/>
                  </a:cubicBezTo>
                  <a:cubicBezTo>
                    <a:pt x="1708" y="2135"/>
                    <a:pt x="1716" y="2158"/>
                    <a:pt x="1746" y="2172"/>
                  </a:cubicBezTo>
                  <a:cubicBezTo>
                    <a:pt x="1820" y="2090"/>
                    <a:pt x="1820" y="2090"/>
                    <a:pt x="1820" y="2090"/>
                  </a:cubicBezTo>
                  <a:cubicBezTo>
                    <a:pt x="1850" y="2165"/>
                    <a:pt x="1850" y="2165"/>
                    <a:pt x="1850" y="2165"/>
                  </a:cubicBezTo>
                  <a:cubicBezTo>
                    <a:pt x="1768" y="2442"/>
                    <a:pt x="1768" y="2442"/>
                    <a:pt x="1768" y="2442"/>
                  </a:cubicBezTo>
                  <a:cubicBezTo>
                    <a:pt x="1768" y="2472"/>
                    <a:pt x="1791" y="2487"/>
                    <a:pt x="1813" y="2510"/>
                  </a:cubicBezTo>
                  <a:cubicBezTo>
                    <a:pt x="1843" y="2540"/>
                    <a:pt x="1873" y="2555"/>
                    <a:pt x="1918" y="2570"/>
                  </a:cubicBezTo>
                  <a:cubicBezTo>
                    <a:pt x="1963" y="2592"/>
                    <a:pt x="2000" y="2585"/>
                    <a:pt x="2052" y="2592"/>
                  </a:cubicBezTo>
                  <a:cubicBezTo>
                    <a:pt x="2059" y="2592"/>
                    <a:pt x="2067" y="2599"/>
                    <a:pt x="2082" y="2599"/>
                  </a:cubicBezTo>
                  <a:cubicBezTo>
                    <a:pt x="2119" y="2599"/>
                    <a:pt x="2134" y="2585"/>
                    <a:pt x="2164" y="2562"/>
                  </a:cubicBezTo>
                  <a:cubicBezTo>
                    <a:pt x="2194" y="2540"/>
                    <a:pt x="2217" y="2525"/>
                    <a:pt x="2232" y="2487"/>
                  </a:cubicBezTo>
                  <a:cubicBezTo>
                    <a:pt x="2247" y="2427"/>
                    <a:pt x="2239" y="2367"/>
                    <a:pt x="2299" y="2345"/>
                  </a:cubicBezTo>
                  <a:cubicBezTo>
                    <a:pt x="2359" y="2315"/>
                    <a:pt x="2389" y="2300"/>
                    <a:pt x="2449" y="2270"/>
                  </a:cubicBezTo>
                  <a:cubicBezTo>
                    <a:pt x="2464" y="2270"/>
                    <a:pt x="2479" y="2262"/>
                    <a:pt x="2494" y="2255"/>
                  </a:cubicBezTo>
                  <a:cubicBezTo>
                    <a:pt x="2539" y="2240"/>
                    <a:pt x="2569" y="2240"/>
                    <a:pt x="2614" y="2225"/>
                  </a:cubicBezTo>
                  <a:cubicBezTo>
                    <a:pt x="2659" y="2195"/>
                    <a:pt x="2704" y="2195"/>
                    <a:pt x="2756" y="2172"/>
                  </a:cubicBezTo>
                  <a:cubicBezTo>
                    <a:pt x="2786" y="2158"/>
                    <a:pt x="2801" y="2150"/>
                    <a:pt x="2831" y="2128"/>
                  </a:cubicBezTo>
                  <a:cubicBezTo>
                    <a:pt x="2869" y="2098"/>
                    <a:pt x="2891" y="2090"/>
                    <a:pt x="2929" y="2060"/>
                  </a:cubicBezTo>
                  <a:cubicBezTo>
                    <a:pt x="2966" y="2038"/>
                    <a:pt x="2981" y="2008"/>
                    <a:pt x="3026" y="2008"/>
                  </a:cubicBezTo>
                  <a:cubicBezTo>
                    <a:pt x="3041" y="2008"/>
                    <a:pt x="3049" y="2015"/>
                    <a:pt x="3064" y="2015"/>
                  </a:cubicBezTo>
                  <a:cubicBezTo>
                    <a:pt x="3078" y="2015"/>
                    <a:pt x="3086" y="2008"/>
                    <a:pt x="3101" y="2000"/>
                  </a:cubicBezTo>
                  <a:cubicBezTo>
                    <a:pt x="3116" y="2000"/>
                    <a:pt x="3124" y="2000"/>
                    <a:pt x="3138" y="2000"/>
                  </a:cubicBezTo>
                  <a:cubicBezTo>
                    <a:pt x="3191" y="1978"/>
                    <a:pt x="3214" y="1955"/>
                    <a:pt x="3251" y="1918"/>
                  </a:cubicBezTo>
                  <a:cubicBezTo>
                    <a:pt x="3273" y="1903"/>
                    <a:pt x="3296" y="1895"/>
                    <a:pt x="3318" y="1873"/>
                  </a:cubicBezTo>
                  <a:cubicBezTo>
                    <a:pt x="3341" y="1850"/>
                    <a:pt x="3363" y="1843"/>
                    <a:pt x="3393" y="1828"/>
                  </a:cubicBezTo>
                  <a:cubicBezTo>
                    <a:pt x="3423" y="1813"/>
                    <a:pt x="3438" y="1790"/>
                    <a:pt x="3461" y="1768"/>
                  </a:cubicBezTo>
                  <a:cubicBezTo>
                    <a:pt x="3468" y="1760"/>
                    <a:pt x="3476" y="1760"/>
                    <a:pt x="3491" y="1753"/>
                  </a:cubicBezTo>
                  <a:cubicBezTo>
                    <a:pt x="3521" y="1723"/>
                    <a:pt x="3528" y="1708"/>
                    <a:pt x="3551" y="1678"/>
                  </a:cubicBezTo>
                  <a:cubicBezTo>
                    <a:pt x="3573" y="1648"/>
                    <a:pt x="3588" y="1640"/>
                    <a:pt x="3603" y="1618"/>
                  </a:cubicBezTo>
                  <a:cubicBezTo>
                    <a:pt x="3626" y="1580"/>
                    <a:pt x="3633" y="1550"/>
                    <a:pt x="3648" y="1513"/>
                  </a:cubicBezTo>
                  <a:cubicBezTo>
                    <a:pt x="3671" y="1476"/>
                    <a:pt x="3701" y="1468"/>
                    <a:pt x="3723" y="1430"/>
                  </a:cubicBezTo>
                  <a:cubicBezTo>
                    <a:pt x="3746" y="1400"/>
                    <a:pt x="3761" y="1386"/>
                    <a:pt x="3776" y="1348"/>
                  </a:cubicBezTo>
                  <a:cubicBezTo>
                    <a:pt x="3776" y="1333"/>
                    <a:pt x="3776" y="1326"/>
                    <a:pt x="3776" y="1311"/>
                  </a:cubicBezTo>
                  <a:cubicBezTo>
                    <a:pt x="3798" y="1251"/>
                    <a:pt x="3806" y="1221"/>
                    <a:pt x="3820" y="1161"/>
                  </a:cubicBezTo>
                  <a:cubicBezTo>
                    <a:pt x="3828" y="1131"/>
                    <a:pt x="3828" y="1108"/>
                    <a:pt x="3858" y="1086"/>
                  </a:cubicBezTo>
                  <a:cubicBezTo>
                    <a:pt x="3873" y="1078"/>
                    <a:pt x="3888" y="1071"/>
                    <a:pt x="3910" y="1056"/>
                  </a:cubicBezTo>
                  <a:cubicBezTo>
                    <a:pt x="3933" y="1048"/>
                    <a:pt x="3940" y="1041"/>
                    <a:pt x="3963" y="1026"/>
                  </a:cubicBezTo>
                  <a:cubicBezTo>
                    <a:pt x="3993" y="1003"/>
                    <a:pt x="4000" y="981"/>
                    <a:pt x="4030" y="958"/>
                  </a:cubicBezTo>
                  <a:cubicBezTo>
                    <a:pt x="4053" y="951"/>
                    <a:pt x="4060" y="943"/>
                    <a:pt x="4083" y="936"/>
                  </a:cubicBezTo>
                  <a:cubicBezTo>
                    <a:pt x="4165" y="899"/>
                    <a:pt x="4225" y="899"/>
                    <a:pt x="4300" y="846"/>
                  </a:cubicBezTo>
                  <a:cubicBezTo>
                    <a:pt x="4330" y="831"/>
                    <a:pt x="4345" y="808"/>
                    <a:pt x="4367" y="786"/>
                  </a:cubicBezTo>
                  <a:cubicBezTo>
                    <a:pt x="4413" y="756"/>
                    <a:pt x="4443" y="741"/>
                    <a:pt x="4465" y="696"/>
                  </a:cubicBezTo>
                  <a:cubicBezTo>
                    <a:pt x="4480" y="666"/>
                    <a:pt x="4487" y="651"/>
                    <a:pt x="4502" y="621"/>
                  </a:cubicBezTo>
                  <a:cubicBezTo>
                    <a:pt x="4510" y="606"/>
                    <a:pt x="4510" y="599"/>
                    <a:pt x="4517" y="584"/>
                  </a:cubicBezTo>
                  <a:cubicBezTo>
                    <a:pt x="4532" y="561"/>
                    <a:pt x="4540" y="554"/>
                    <a:pt x="4540" y="531"/>
                  </a:cubicBezTo>
                  <a:cubicBezTo>
                    <a:pt x="4547" y="494"/>
                    <a:pt x="4547" y="471"/>
                    <a:pt x="4547" y="434"/>
                  </a:cubicBezTo>
                  <a:cubicBezTo>
                    <a:pt x="4555" y="405"/>
                    <a:pt x="4562" y="390"/>
                    <a:pt x="4562" y="360"/>
                  </a:cubicBezTo>
                  <a:cubicBezTo>
                    <a:pt x="4562" y="277"/>
                    <a:pt x="4562" y="277"/>
                    <a:pt x="4562" y="277"/>
                  </a:cubicBezTo>
                  <a:cubicBezTo>
                    <a:pt x="4562" y="225"/>
                    <a:pt x="4585" y="202"/>
                    <a:pt x="4607" y="150"/>
                  </a:cubicBezTo>
                  <a:cubicBezTo>
                    <a:pt x="4637" y="105"/>
                    <a:pt x="4630" y="68"/>
                    <a:pt x="4660" y="15"/>
                  </a:cubicBezTo>
                  <a:cubicBezTo>
                    <a:pt x="4660" y="8"/>
                    <a:pt x="4667" y="8"/>
                    <a:pt x="4667" y="0"/>
                  </a:cubicBezTo>
                  <a:lnTo>
                    <a:pt x="4667" y="0"/>
                  </a:lnTo>
                  <a:cubicBezTo>
                    <a:pt x="4675" y="8"/>
                    <a:pt x="4682" y="30"/>
                    <a:pt x="4697" y="38"/>
                  </a:cubicBezTo>
                  <a:cubicBezTo>
                    <a:pt x="4705" y="38"/>
                    <a:pt x="4720" y="38"/>
                    <a:pt x="4727" y="38"/>
                  </a:cubicBezTo>
                  <a:cubicBezTo>
                    <a:pt x="4742" y="45"/>
                    <a:pt x="4757" y="60"/>
                    <a:pt x="4772" y="68"/>
                  </a:cubicBezTo>
                  <a:cubicBezTo>
                    <a:pt x="4795" y="75"/>
                    <a:pt x="4810" y="75"/>
                    <a:pt x="4825" y="83"/>
                  </a:cubicBezTo>
                  <a:cubicBezTo>
                    <a:pt x="4840" y="83"/>
                    <a:pt x="4855" y="83"/>
                    <a:pt x="4862" y="98"/>
                  </a:cubicBezTo>
                  <a:cubicBezTo>
                    <a:pt x="4870" y="105"/>
                    <a:pt x="4862" y="113"/>
                    <a:pt x="4862" y="120"/>
                  </a:cubicBezTo>
                  <a:cubicBezTo>
                    <a:pt x="4870" y="158"/>
                    <a:pt x="4877" y="172"/>
                    <a:pt x="4877" y="210"/>
                  </a:cubicBezTo>
                  <a:cubicBezTo>
                    <a:pt x="4877" y="218"/>
                    <a:pt x="4870" y="218"/>
                    <a:pt x="4870" y="225"/>
                  </a:cubicBezTo>
                  <a:cubicBezTo>
                    <a:pt x="4870" y="240"/>
                    <a:pt x="4877" y="248"/>
                    <a:pt x="4885" y="255"/>
                  </a:cubicBezTo>
                  <a:cubicBezTo>
                    <a:pt x="4892" y="270"/>
                    <a:pt x="4892" y="277"/>
                    <a:pt x="4892" y="292"/>
                  </a:cubicBezTo>
                  <a:cubicBezTo>
                    <a:pt x="4915" y="292"/>
                    <a:pt x="4930" y="300"/>
                    <a:pt x="4952" y="300"/>
                  </a:cubicBezTo>
                  <a:cubicBezTo>
                    <a:pt x="4975" y="307"/>
                    <a:pt x="4990" y="300"/>
                    <a:pt x="5005" y="307"/>
                  </a:cubicBezTo>
                  <a:cubicBezTo>
                    <a:pt x="5027" y="315"/>
                    <a:pt x="5027" y="337"/>
                    <a:pt x="5042" y="352"/>
                  </a:cubicBezTo>
                  <a:cubicBezTo>
                    <a:pt x="5057" y="375"/>
                    <a:pt x="5079" y="390"/>
                    <a:pt x="5079" y="419"/>
                  </a:cubicBezTo>
                  <a:cubicBezTo>
                    <a:pt x="5079" y="426"/>
                    <a:pt x="5072" y="426"/>
                    <a:pt x="5065" y="426"/>
                  </a:cubicBezTo>
                  <a:cubicBezTo>
                    <a:pt x="5065" y="434"/>
                    <a:pt x="5065" y="434"/>
                    <a:pt x="5057" y="441"/>
                  </a:cubicBezTo>
                  <a:cubicBezTo>
                    <a:pt x="5050" y="471"/>
                    <a:pt x="5027" y="486"/>
                    <a:pt x="4997" y="494"/>
                  </a:cubicBezTo>
                  <a:cubicBezTo>
                    <a:pt x="4967" y="509"/>
                    <a:pt x="4952" y="531"/>
                    <a:pt x="4922" y="531"/>
                  </a:cubicBezTo>
                  <a:cubicBezTo>
                    <a:pt x="4892" y="531"/>
                    <a:pt x="4877" y="524"/>
                    <a:pt x="4855" y="524"/>
                  </a:cubicBezTo>
                  <a:cubicBezTo>
                    <a:pt x="4825" y="689"/>
                    <a:pt x="4825" y="689"/>
                    <a:pt x="4825" y="689"/>
                  </a:cubicBezTo>
                  <a:cubicBezTo>
                    <a:pt x="4840" y="696"/>
                    <a:pt x="4847" y="696"/>
                    <a:pt x="4847" y="704"/>
                  </a:cubicBezTo>
                  <a:cubicBezTo>
                    <a:pt x="4847" y="719"/>
                    <a:pt x="4840" y="726"/>
                    <a:pt x="4840" y="734"/>
                  </a:cubicBezTo>
                  <a:cubicBezTo>
                    <a:pt x="4832" y="741"/>
                    <a:pt x="4832" y="749"/>
                    <a:pt x="4825" y="756"/>
                  </a:cubicBezTo>
                  <a:cubicBezTo>
                    <a:pt x="4825" y="764"/>
                    <a:pt x="4810" y="764"/>
                    <a:pt x="4810" y="779"/>
                  </a:cubicBezTo>
                  <a:cubicBezTo>
                    <a:pt x="4795" y="794"/>
                    <a:pt x="4802" y="808"/>
                    <a:pt x="4795" y="823"/>
                  </a:cubicBezTo>
                  <a:cubicBezTo>
                    <a:pt x="4780" y="869"/>
                    <a:pt x="4780" y="899"/>
                    <a:pt x="4780" y="951"/>
                  </a:cubicBezTo>
                  <a:cubicBezTo>
                    <a:pt x="4780" y="966"/>
                    <a:pt x="4780" y="981"/>
                    <a:pt x="4795" y="988"/>
                  </a:cubicBezTo>
                  <a:cubicBezTo>
                    <a:pt x="4802" y="996"/>
                    <a:pt x="4810" y="996"/>
                    <a:pt x="4817" y="1003"/>
                  </a:cubicBezTo>
                  <a:cubicBezTo>
                    <a:pt x="4825" y="1011"/>
                    <a:pt x="4832" y="1018"/>
                    <a:pt x="4840" y="1026"/>
                  </a:cubicBezTo>
                  <a:cubicBezTo>
                    <a:pt x="4855" y="1026"/>
                    <a:pt x="4870" y="1018"/>
                    <a:pt x="4877" y="1026"/>
                  </a:cubicBezTo>
                  <a:cubicBezTo>
                    <a:pt x="4885" y="1033"/>
                    <a:pt x="4885" y="1041"/>
                    <a:pt x="4885" y="1048"/>
                  </a:cubicBezTo>
                  <a:cubicBezTo>
                    <a:pt x="4892" y="1063"/>
                    <a:pt x="4900" y="1063"/>
                    <a:pt x="4907" y="1071"/>
                  </a:cubicBezTo>
                  <a:lnTo>
                    <a:pt x="4907" y="1071"/>
                  </a:lnTo>
                  <a:cubicBezTo>
                    <a:pt x="4892" y="1093"/>
                    <a:pt x="4885" y="1108"/>
                    <a:pt x="4862" y="1131"/>
                  </a:cubicBezTo>
                  <a:cubicBezTo>
                    <a:pt x="4847" y="1138"/>
                    <a:pt x="4840" y="1138"/>
                    <a:pt x="4832" y="1146"/>
                  </a:cubicBezTo>
                  <a:cubicBezTo>
                    <a:pt x="4817" y="1168"/>
                    <a:pt x="4817" y="1191"/>
                    <a:pt x="4795" y="1213"/>
                  </a:cubicBezTo>
                  <a:cubicBezTo>
                    <a:pt x="4795" y="1213"/>
                    <a:pt x="4787" y="1213"/>
                    <a:pt x="4787" y="1221"/>
                  </a:cubicBezTo>
                  <a:cubicBezTo>
                    <a:pt x="4780" y="1228"/>
                    <a:pt x="4780" y="1236"/>
                    <a:pt x="4780" y="1243"/>
                  </a:cubicBezTo>
                  <a:cubicBezTo>
                    <a:pt x="4772" y="1258"/>
                    <a:pt x="4765" y="1266"/>
                    <a:pt x="4750" y="1281"/>
                  </a:cubicBezTo>
                  <a:cubicBezTo>
                    <a:pt x="4742" y="1281"/>
                    <a:pt x="4735" y="1288"/>
                    <a:pt x="4727" y="1296"/>
                  </a:cubicBezTo>
                  <a:cubicBezTo>
                    <a:pt x="4712" y="1311"/>
                    <a:pt x="4690" y="1318"/>
                    <a:pt x="4690" y="1333"/>
                  </a:cubicBezTo>
                  <a:cubicBezTo>
                    <a:pt x="4690" y="1370"/>
                    <a:pt x="4697" y="1393"/>
                    <a:pt x="4705" y="1423"/>
                  </a:cubicBezTo>
                  <a:cubicBezTo>
                    <a:pt x="4705" y="1446"/>
                    <a:pt x="4697" y="1460"/>
                    <a:pt x="4705" y="1476"/>
                  </a:cubicBezTo>
                  <a:cubicBezTo>
                    <a:pt x="4705" y="1483"/>
                    <a:pt x="4720" y="1476"/>
                    <a:pt x="4720" y="1483"/>
                  </a:cubicBezTo>
                  <a:cubicBezTo>
                    <a:pt x="4720" y="1490"/>
                    <a:pt x="4727" y="1498"/>
                    <a:pt x="4727" y="1505"/>
                  </a:cubicBezTo>
                  <a:cubicBezTo>
                    <a:pt x="4727" y="1520"/>
                    <a:pt x="4712" y="1520"/>
                    <a:pt x="4705" y="1520"/>
                  </a:cubicBezTo>
                  <a:cubicBezTo>
                    <a:pt x="4690" y="1520"/>
                    <a:pt x="4682" y="1505"/>
                    <a:pt x="4667" y="1505"/>
                  </a:cubicBezTo>
                  <a:cubicBezTo>
                    <a:pt x="4645" y="1505"/>
                    <a:pt x="4637" y="1528"/>
                    <a:pt x="4615" y="1528"/>
                  </a:cubicBezTo>
                  <a:cubicBezTo>
                    <a:pt x="4600" y="1528"/>
                    <a:pt x="4592" y="1513"/>
                    <a:pt x="4577" y="1513"/>
                  </a:cubicBezTo>
                  <a:cubicBezTo>
                    <a:pt x="4570" y="1513"/>
                    <a:pt x="4570" y="1520"/>
                    <a:pt x="4562" y="1520"/>
                  </a:cubicBezTo>
                  <a:cubicBezTo>
                    <a:pt x="4540" y="1528"/>
                    <a:pt x="4532" y="1528"/>
                    <a:pt x="4510" y="1528"/>
                  </a:cubicBezTo>
                  <a:cubicBezTo>
                    <a:pt x="4517" y="1535"/>
                    <a:pt x="4525" y="1543"/>
                    <a:pt x="4525" y="1550"/>
                  </a:cubicBezTo>
                  <a:cubicBezTo>
                    <a:pt x="4525" y="1580"/>
                    <a:pt x="4525" y="1580"/>
                    <a:pt x="4525" y="1580"/>
                  </a:cubicBezTo>
                  <a:cubicBezTo>
                    <a:pt x="4495" y="1580"/>
                    <a:pt x="4480" y="1580"/>
                    <a:pt x="4457" y="1588"/>
                  </a:cubicBezTo>
                  <a:cubicBezTo>
                    <a:pt x="4443" y="1595"/>
                    <a:pt x="4427" y="1603"/>
                    <a:pt x="4405" y="1610"/>
                  </a:cubicBezTo>
                  <a:cubicBezTo>
                    <a:pt x="4383" y="1610"/>
                    <a:pt x="4367" y="1610"/>
                    <a:pt x="4345" y="1610"/>
                  </a:cubicBezTo>
                  <a:cubicBezTo>
                    <a:pt x="4323" y="1618"/>
                    <a:pt x="4300" y="1610"/>
                    <a:pt x="4300" y="1633"/>
                  </a:cubicBezTo>
                  <a:cubicBezTo>
                    <a:pt x="4300" y="1640"/>
                    <a:pt x="4308" y="1640"/>
                    <a:pt x="4308" y="1648"/>
                  </a:cubicBezTo>
                  <a:cubicBezTo>
                    <a:pt x="4308" y="1663"/>
                    <a:pt x="4308" y="1678"/>
                    <a:pt x="4300" y="1678"/>
                  </a:cubicBezTo>
                  <a:cubicBezTo>
                    <a:pt x="4315" y="1685"/>
                    <a:pt x="4330" y="1685"/>
                    <a:pt x="4330" y="1700"/>
                  </a:cubicBezTo>
                  <a:cubicBezTo>
                    <a:pt x="4330" y="1708"/>
                    <a:pt x="4323" y="1723"/>
                    <a:pt x="4323" y="1738"/>
                  </a:cubicBezTo>
                  <a:cubicBezTo>
                    <a:pt x="4315" y="1760"/>
                    <a:pt x="4308" y="1783"/>
                    <a:pt x="4308" y="1813"/>
                  </a:cubicBezTo>
                  <a:cubicBezTo>
                    <a:pt x="4300" y="1850"/>
                    <a:pt x="4263" y="1865"/>
                    <a:pt x="4263" y="1910"/>
                  </a:cubicBezTo>
                  <a:cubicBezTo>
                    <a:pt x="4263" y="1918"/>
                    <a:pt x="4270" y="1918"/>
                    <a:pt x="4270" y="1925"/>
                  </a:cubicBezTo>
                  <a:cubicBezTo>
                    <a:pt x="4270" y="1933"/>
                    <a:pt x="4270" y="1948"/>
                    <a:pt x="4270" y="1963"/>
                  </a:cubicBezTo>
                  <a:cubicBezTo>
                    <a:pt x="4293" y="1963"/>
                    <a:pt x="4315" y="1955"/>
                    <a:pt x="4330" y="1970"/>
                  </a:cubicBezTo>
                  <a:cubicBezTo>
                    <a:pt x="4345" y="1985"/>
                    <a:pt x="4338" y="2000"/>
                    <a:pt x="4338" y="2023"/>
                  </a:cubicBezTo>
                  <a:cubicBezTo>
                    <a:pt x="4338" y="2038"/>
                    <a:pt x="4338" y="2045"/>
                    <a:pt x="4338" y="2060"/>
                  </a:cubicBezTo>
                  <a:cubicBezTo>
                    <a:pt x="4338" y="2060"/>
                    <a:pt x="4323" y="2060"/>
                    <a:pt x="4323" y="2068"/>
                  </a:cubicBezTo>
                  <a:lnTo>
                    <a:pt x="4323" y="2075"/>
                  </a:lnTo>
                  <a:cubicBezTo>
                    <a:pt x="4323" y="2098"/>
                    <a:pt x="4330" y="2112"/>
                    <a:pt x="4330" y="2128"/>
                  </a:cubicBezTo>
                  <a:cubicBezTo>
                    <a:pt x="4338" y="2135"/>
                    <a:pt x="4330" y="2142"/>
                    <a:pt x="4338" y="2158"/>
                  </a:cubicBezTo>
                  <a:cubicBezTo>
                    <a:pt x="4345" y="2172"/>
                    <a:pt x="4360" y="2172"/>
                    <a:pt x="4360" y="2195"/>
                  </a:cubicBezTo>
                  <a:cubicBezTo>
                    <a:pt x="4360" y="2210"/>
                    <a:pt x="4353" y="2217"/>
                    <a:pt x="4345" y="2232"/>
                  </a:cubicBezTo>
                  <a:cubicBezTo>
                    <a:pt x="4338" y="2247"/>
                    <a:pt x="4345" y="2262"/>
                    <a:pt x="4345" y="2277"/>
                  </a:cubicBezTo>
                  <a:cubicBezTo>
                    <a:pt x="4345" y="2292"/>
                    <a:pt x="4338" y="2292"/>
                    <a:pt x="4338" y="2307"/>
                  </a:cubicBezTo>
                  <a:cubicBezTo>
                    <a:pt x="4330" y="2315"/>
                    <a:pt x="4338" y="2330"/>
                    <a:pt x="4330" y="2345"/>
                  </a:cubicBezTo>
                  <a:lnTo>
                    <a:pt x="4330" y="2345"/>
                  </a:lnTo>
                  <a:cubicBezTo>
                    <a:pt x="4315" y="2345"/>
                    <a:pt x="4315" y="2345"/>
                    <a:pt x="4315" y="2345"/>
                  </a:cubicBezTo>
                  <a:cubicBezTo>
                    <a:pt x="4308" y="2330"/>
                    <a:pt x="4315" y="2315"/>
                    <a:pt x="4300" y="2307"/>
                  </a:cubicBezTo>
                  <a:cubicBezTo>
                    <a:pt x="4293" y="2292"/>
                    <a:pt x="4278" y="2307"/>
                    <a:pt x="4263" y="2292"/>
                  </a:cubicBezTo>
                  <a:cubicBezTo>
                    <a:pt x="4255" y="2292"/>
                    <a:pt x="4263" y="2277"/>
                    <a:pt x="4255" y="2270"/>
                  </a:cubicBezTo>
                  <a:cubicBezTo>
                    <a:pt x="4255" y="2255"/>
                    <a:pt x="4248" y="2247"/>
                    <a:pt x="4240" y="2232"/>
                  </a:cubicBezTo>
                  <a:cubicBezTo>
                    <a:pt x="4233" y="2217"/>
                    <a:pt x="4218" y="2217"/>
                    <a:pt x="4203" y="2210"/>
                  </a:cubicBezTo>
                  <a:cubicBezTo>
                    <a:pt x="4188" y="2202"/>
                    <a:pt x="4180" y="2187"/>
                    <a:pt x="4173" y="2172"/>
                  </a:cubicBezTo>
                  <a:cubicBezTo>
                    <a:pt x="4165" y="2202"/>
                    <a:pt x="4158" y="2225"/>
                    <a:pt x="4143" y="2247"/>
                  </a:cubicBezTo>
                  <a:cubicBezTo>
                    <a:pt x="4135" y="2255"/>
                    <a:pt x="4128" y="2247"/>
                    <a:pt x="4128" y="2255"/>
                  </a:cubicBezTo>
                  <a:cubicBezTo>
                    <a:pt x="4113" y="2270"/>
                    <a:pt x="4098" y="2270"/>
                    <a:pt x="4075" y="2270"/>
                  </a:cubicBezTo>
                  <a:cubicBezTo>
                    <a:pt x="4053" y="2270"/>
                    <a:pt x="4045" y="2270"/>
                    <a:pt x="4023" y="2270"/>
                  </a:cubicBezTo>
                  <a:cubicBezTo>
                    <a:pt x="4023" y="2285"/>
                    <a:pt x="4023" y="2292"/>
                    <a:pt x="4023" y="2300"/>
                  </a:cubicBezTo>
                  <a:cubicBezTo>
                    <a:pt x="4023" y="2337"/>
                    <a:pt x="4030" y="2352"/>
                    <a:pt x="4030" y="2390"/>
                  </a:cubicBezTo>
                  <a:cubicBezTo>
                    <a:pt x="4030" y="2397"/>
                    <a:pt x="4030" y="2397"/>
                    <a:pt x="4023" y="2405"/>
                  </a:cubicBezTo>
                  <a:cubicBezTo>
                    <a:pt x="3963" y="2405"/>
                    <a:pt x="3963" y="2405"/>
                    <a:pt x="3963" y="2405"/>
                  </a:cubicBezTo>
                  <a:cubicBezTo>
                    <a:pt x="3970" y="2442"/>
                    <a:pt x="3978" y="2480"/>
                    <a:pt x="3948" y="2495"/>
                  </a:cubicBezTo>
                  <a:cubicBezTo>
                    <a:pt x="3918" y="2517"/>
                    <a:pt x="3896" y="2525"/>
                    <a:pt x="3858" y="2532"/>
                  </a:cubicBezTo>
                  <a:cubicBezTo>
                    <a:pt x="3858" y="2547"/>
                    <a:pt x="3858" y="2555"/>
                    <a:pt x="3858" y="2570"/>
                  </a:cubicBezTo>
                  <a:cubicBezTo>
                    <a:pt x="3858" y="2577"/>
                    <a:pt x="3843" y="2585"/>
                    <a:pt x="3836" y="2592"/>
                  </a:cubicBezTo>
                  <a:cubicBezTo>
                    <a:pt x="3828" y="2599"/>
                    <a:pt x="3820" y="2615"/>
                    <a:pt x="3813" y="2615"/>
                  </a:cubicBezTo>
                  <a:cubicBezTo>
                    <a:pt x="3798" y="2615"/>
                    <a:pt x="3790" y="2607"/>
                    <a:pt x="3776" y="2607"/>
                  </a:cubicBezTo>
                  <a:cubicBezTo>
                    <a:pt x="3768" y="2599"/>
                    <a:pt x="3768" y="2592"/>
                    <a:pt x="3753" y="2592"/>
                  </a:cubicBezTo>
                  <a:cubicBezTo>
                    <a:pt x="3738" y="2592"/>
                    <a:pt x="3723" y="2615"/>
                    <a:pt x="3716" y="2629"/>
                  </a:cubicBezTo>
                  <a:lnTo>
                    <a:pt x="3716" y="2629"/>
                  </a:lnTo>
                  <a:cubicBezTo>
                    <a:pt x="3701" y="2637"/>
                    <a:pt x="3693" y="2629"/>
                    <a:pt x="3678" y="2637"/>
                  </a:cubicBezTo>
                  <a:cubicBezTo>
                    <a:pt x="3656" y="2645"/>
                    <a:pt x="3641" y="2659"/>
                    <a:pt x="3618" y="2659"/>
                  </a:cubicBezTo>
                  <a:cubicBezTo>
                    <a:pt x="3603" y="2659"/>
                    <a:pt x="3603" y="2659"/>
                    <a:pt x="3588" y="2659"/>
                  </a:cubicBezTo>
                  <a:cubicBezTo>
                    <a:pt x="3566" y="2667"/>
                    <a:pt x="3543" y="2675"/>
                    <a:pt x="3513" y="2675"/>
                  </a:cubicBezTo>
                  <a:cubicBezTo>
                    <a:pt x="3513" y="2682"/>
                    <a:pt x="3513" y="2689"/>
                    <a:pt x="3513" y="2689"/>
                  </a:cubicBezTo>
                  <a:cubicBezTo>
                    <a:pt x="3513" y="2712"/>
                    <a:pt x="3528" y="2727"/>
                    <a:pt x="3528" y="2749"/>
                  </a:cubicBezTo>
                  <a:cubicBezTo>
                    <a:pt x="3528" y="2757"/>
                    <a:pt x="3521" y="2757"/>
                    <a:pt x="3513" y="2757"/>
                  </a:cubicBezTo>
                  <a:cubicBezTo>
                    <a:pt x="3491" y="2764"/>
                    <a:pt x="3476" y="2757"/>
                    <a:pt x="3461" y="2764"/>
                  </a:cubicBezTo>
                  <a:cubicBezTo>
                    <a:pt x="3446" y="2772"/>
                    <a:pt x="3446" y="2794"/>
                    <a:pt x="3438" y="2809"/>
                  </a:cubicBezTo>
                  <a:cubicBezTo>
                    <a:pt x="3431" y="2817"/>
                    <a:pt x="3423" y="2824"/>
                    <a:pt x="3416" y="2832"/>
                  </a:cubicBezTo>
                  <a:cubicBezTo>
                    <a:pt x="3401" y="2854"/>
                    <a:pt x="3408" y="2869"/>
                    <a:pt x="3393" y="2899"/>
                  </a:cubicBezTo>
                  <a:cubicBezTo>
                    <a:pt x="3386" y="2929"/>
                    <a:pt x="3378" y="2944"/>
                    <a:pt x="3378" y="2974"/>
                  </a:cubicBezTo>
                  <a:cubicBezTo>
                    <a:pt x="3378" y="2997"/>
                    <a:pt x="3378" y="3012"/>
                    <a:pt x="3386" y="3034"/>
                  </a:cubicBezTo>
                  <a:cubicBezTo>
                    <a:pt x="3393" y="3057"/>
                    <a:pt x="3401" y="3072"/>
                    <a:pt x="3423" y="3079"/>
                  </a:cubicBezTo>
                  <a:cubicBezTo>
                    <a:pt x="3461" y="3087"/>
                    <a:pt x="3476" y="3087"/>
                    <a:pt x="3513" y="3087"/>
                  </a:cubicBezTo>
                  <a:cubicBezTo>
                    <a:pt x="3536" y="3087"/>
                    <a:pt x="3551" y="3079"/>
                    <a:pt x="3573" y="3079"/>
                  </a:cubicBezTo>
                  <a:cubicBezTo>
                    <a:pt x="3603" y="3079"/>
                    <a:pt x="3618" y="3079"/>
                    <a:pt x="3648" y="3079"/>
                  </a:cubicBezTo>
                  <a:cubicBezTo>
                    <a:pt x="3648" y="3154"/>
                    <a:pt x="3648" y="3154"/>
                    <a:pt x="3648" y="3154"/>
                  </a:cubicBezTo>
                  <a:cubicBezTo>
                    <a:pt x="3648" y="3184"/>
                    <a:pt x="3663" y="3199"/>
                    <a:pt x="3663" y="3229"/>
                  </a:cubicBezTo>
                  <a:cubicBezTo>
                    <a:pt x="3663" y="3252"/>
                    <a:pt x="3641" y="3259"/>
                    <a:pt x="3626" y="3281"/>
                  </a:cubicBezTo>
                  <a:cubicBezTo>
                    <a:pt x="3626" y="3281"/>
                    <a:pt x="3611" y="3281"/>
                    <a:pt x="3611" y="3289"/>
                  </a:cubicBezTo>
                  <a:cubicBezTo>
                    <a:pt x="3611" y="3297"/>
                    <a:pt x="3618" y="3304"/>
                    <a:pt x="3626" y="3311"/>
                  </a:cubicBezTo>
                  <a:cubicBezTo>
                    <a:pt x="3633" y="3341"/>
                    <a:pt x="3633" y="3364"/>
                    <a:pt x="3633" y="3401"/>
                  </a:cubicBezTo>
                  <a:cubicBezTo>
                    <a:pt x="3633" y="3409"/>
                    <a:pt x="3633" y="3416"/>
                    <a:pt x="3633" y="3424"/>
                  </a:cubicBezTo>
                  <a:cubicBezTo>
                    <a:pt x="3618" y="3424"/>
                    <a:pt x="3603" y="3431"/>
                    <a:pt x="3588" y="3424"/>
                  </a:cubicBezTo>
                  <a:cubicBezTo>
                    <a:pt x="3596" y="3446"/>
                    <a:pt x="3596" y="3469"/>
                    <a:pt x="3611" y="3476"/>
                  </a:cubicBezTo>
                  <a:cubicBezTo>
                    <a:pt x="3618" y="3484"/>
                    <a:pt x="3626" y="3476"/>
                    <a:pt x="3633" y="3484"/>
                  </a:cubicBezTo>
                  <a:cubicBezTo>
                    <a:pt x="3656" y="3506"/>
                    <a:pt x="3641" y="3529"/>
                    <a:pt x="3648" y="3559"/>
                  </a:cubicBezTo>
                  <a:cubicBezTo>
                    <a:pt x="3648" y="3581"/>
                    <a:pt x="3648" y="3604"/>
                    <a:pt x="3656" y="3626"/>
                  </a:cubicBezTo>
                  <a:cubicBezTo>
                    <a:pt x="3678" y="3656"/>
                    <a:pt x="3701" y="3656"/>
                    <a:pt x="3723" y="3686"/>
                  </a:cubicBezTo>
                  <a:lnTo>
                    <a:pt x="3723" y="3686"/>
                  </a:lnTo>
                  <a:cubicBezTo>
                    <a:pt x="3723" y="3694"/>
                    <a:pt x="3723" y="3701"/>
                    <a:pt x="3731" y="3709"/>
                  </a:cubicBezTo>
                  <a:cubicBezTo>
                    <a:pt x="3738" y="3739"/>
                    <a:pt x="3768" y="3746"/>
                    <a:pt x="3768" y="3776"/>
                  </a:cubicBezTo>
                  <a:cubicBezTo>
                    <a:pt x="3768" y="3784"/>
                    <a:pt x="3761" y="3784"/>
                    <a:pt x="3753" y="3791"/>
                  </a:cubicBezTo>
                  <a:lnTo>
                    <a:pt x="3753" y="3791"/>
                  </a:lnTo>
                  <a:cubicBezTo>
                    <a:pt x="3783" y="3806"/>
                    <a:pt x="3798" y="3806"/>
                    <a:pt x="3828" y="3806"/>
                  </a:cubicBezTo>
                  <a:cubicBezTo>
                    <a:pt x="3828" y="3821"/>
                    <a:pt x="3828" y="3836"/>
                    <a:pt x="3836" y="3844"/>
                  </a:cubicBezTo>
                  <a:cubicBezTo>
                    <a:pt x="3843" y="3851"/>
                    <a:pt x="3850" y="3844"/>
                    <a:pt x="3858" y="3851"/>
                  </a:cubicBezTo>
                  <a:cubicBezTo>
                    <a:pt x="3873" y="3851"/>
                    <a:pt x="3880" y="3866"/>
                    <a:pt x="3896" y="3874"/>
                  </a:cubicBezTo>
                  <a:cubicBezTo>
                    <a:pt x="3918" y="3881"/>
                    <a:pt x="3933" y="3874"/>
                    <a:pt x="3963" y="3874"/>
                  </a:cubicBezTo>
                  <a:cubicBezTo>
                    <a:pt x="4000" y="3881"/>
                    <a:pt x="4000" y="3881"/>
                    <a:pt x="4000" y="3881"/>
                  </a:cubicBezTo>
                  <a:lnTo>
                    <a:pt x="4000" y="3881"/>
                  </a:lnTo>
                  <a:cubicBezTo>
                    <a:pt x="4038" y="3941"/>
                    <a:pt x="4030" y="3993"/>
                    <a:pt x="4075" y="4046"/>
                  </a:cubicBezTo>
                  <a:cubicBezTo>
                    <a:pt x="4098" y="4068"/>
                    <a:pt x="4113" y="4091"/>
                    <a:pt x="4143" y="4106"/>
                  </a:cubicBezTo>
                  <a:cubicBezTo>
                    <a:pt x="4173" y="4121"/>
                    <a:pt x="4188" y="4128"/>
                    <a:pt x="4210" y="4143"/>
                  </a:cubicBezTo>
                  <a:cubicBezTo>
                    <a:pt x="4218" y="4151"/>
                    <a:pt x="4218" y="4158"/>
                    <a:pt x="4225" y="4166"/>
                  </a:cubicBezTo>
                  <a:lnTo>
                    <a:pt x="4225" y="4166"/>
                  </a:lnTo>
                  <a:cubicBezTo>
                    <a:pt x="4210" y="4181"/>
                    <a:pt x="4188" y="4173"/>
                    <a:pt x="4188" y="4196"/>
                  </a:cubicBezTo>
                  <a:cubicBezTo>
                    <a:pt x="4188" y="4226"/>
                    <a:pt x="4203" y="4241"/>
                    <a:pt x="4203" y="4271"/>
                  </a:cubicBezTo>
                  <a:cubicBezTo>
                    <a:pt x="4203" y="4286"/>
                    <a:pt x="4195" y="4301"/>
                    <a:pt x="4188" y="4316"/>
                  </a:cubicBezTo>
                  <a:cubicBezTo>
                    <a:pt x="4180" y="4331"/>
                    <a:pt x="4180" y="4338"/>
                    <a:pt x="4173" y="4346"/>
                  </a:cubicBezTo>
                  <a:cubicBezTo>
                    <a:pt x="4158" y="4361"/>
                    <a:pt x="4143" y="4361"/>
                    <a:pt x="4120" y="4368"/>
                  </a:cubicBezTo>
                  <a:lnTo>
                    <a:pt x="4113" y="4368"/>
                  </a:lnTo>
                  <a:cubicBezTo>
                    <a:pt x="4105" y="4376"/>
                    <a:pt x="4105" y="4383"/>
                    <a:pt x="4105" y="4383"/>
                  </a:cubicBezTo>
                  <a:cubicBezTo>
                    <a:pt x="4098" y="4391"/>
                    <a:pt x="4098" y="4398"/>
                    <a:pt x="4083" y="4406"/>
                  </a:cubicBezTo>
                  <a:cubicBezTo>
                    <a:pt x="4068" y="4421"/>
                    <a:pt x="4045" y="4406"/>
                    <a:pt x="4023" y="4421"/>
                  </a:cubicBezTo>
                  <a:cubicBezTo>
                    <a:pt x="4015" y="4421"/>
                    <a:pt x="4015" y="4428"/>
                    <a:pt x="4008" y="4428"/>
                  </a:cubicBezTo>
                  <a:cubicBezTo>
                    <a:pt x="4000" y="4436"/>
                    <a:pt x="3985" y="4443"/>
                    <a:pt x="3978" y="4458"/>
                  </a:cubicBezTo>
                  <a:lnTo>
                    <a:pt x="3978" y="4466"/>
                  </a:lnTo>
                  <a:cubicBezTo>
                    <a:pt x="3978" y="4488"/>
                    <a:pt x="3978" y="4503"/>
                    <a:pt x="3963" y="4518"/>
                  </a:cubicBezTo>
                  <a:lnTo>
                    <a:pt x="3963" y="4518"/>
                  </a:lnTo>
                  <a:cubicBezTo>
                    <a:pt x="3978" y="4518"/>
                    <a:pt x="3985" y="4526"/>
                    <a:pt x="4000" y="4526"/>
                  </a:cubicBezTo>
                  <a:cubicBezTo>
                    <a:pt x="4008" y="4526"/>
                    <a:pt x="4015" y="4518"/>
                    <a:pt x="4023" y="4518"/>
                  </a:cubicBezTo>
                  <a:cubicBezTo>
                    <a:pt x="4038" y="4518"/>
                    <a:pt x="4045" y="4518"/>
                    <a:pt x="4053" y="4526"/>
                  </a:cubicBezTo>
                  <a:cubicBezTo>
                    <a:pt x="4060" y="4548"/>
                    <a:pt x="4068" y="4563"/>
                    <a:pt x="4068" y="4593"/>
                  </a:cubicBezTo>
                  <a:cubicBezTo>
                    <a:pt x="4068" y="4608"/>
                    <a:pt x="4068" y="4616"/>
                    <a:pt x="4068" y="4630"/>
                  </a:cubicBezTo>
                  <a:cubicBezTo>
                    <a:pt x="4068" y="4638"/>
                    <a:pt x="4075" y="4645"/>
                    <a:pt x="4075" y="4653"/>
                  </a:cubicBezTo>
                  <a:cubicBezTo>
                    <a:pt x="4075" y="4690"/>
                    <a:pt x="4030" y="4698"/>
                    <a:pt x="4030" y="4735"/>
                  </a:cubicBezTo>
                  <a:cubicBezTo>
                    <a:pt x="4030" y="4750"/>
                    <a:pt x="4045" y="4758"/>
                    <a:pt x="4045" y="4765"/>
                  </a:cubicBezTo>
                  <a:cubicBezTo>
                    <a:pt x="4053" y="4803"/>
                    <a:pt x="4053" y="4825"/>
                    <a:pt x="4075" y="4848"/>
                  </a:cubicBezTo>
                  <a:cubicBezTo>
                    <a:pt x="4105" y="4870"/>
                    <a:pt x="4135" y="4878"/>
                    <a:pt x="4165" y="4885"/>
                  </a:cubicBezTo>
                  <a:lnTo>
                    <a:pt x="4165" y="4885"/>
                  </a:lnTo>
                  <a:cubicBezTo>
                    <a:pt x="4165" y="4893"/>
                    <a:pt x="4158" y="4900"/>
                    <a:pt x="4158" y="4900"/>
                  </a:cubicBezTo>
                  <a:cubicBezTo>
                    <a:pt x="4158" y="4908"/>
                    <a:pt x="4150" y="4900"/>
                    <a:pt x="4143" y="4908"/>
                  </a:cubicBezTo>
                  <a:cubicBezTo>
                    <a:pt x="4143" y="4915"/>
                    <a:pt x="4143" y="4923"/>
                    <a:pt x="4143" y="4930"/>
                  </a:cubicBezTo>
                  <a:cubicBezTo>
                    <a:pt x="4143" y="4968"/>
                    <a:pt x="4158" y="4990"/>
                    <a:pt x="4158" y="5027"/>
                  </a:cubicBezTo>
                  <a:cubicBezTo>
                    <a:pt x="4158" y="5095"/>
                    <a:pt x="4158" y="5095"/>
                    <a:pt x="4158" y="5095"/>
                  </a:cubicBezTo>
                  <a:cubicBezTo>
                    <a:pt x="4158" y="5117"/>
                    <a:pt x="4180" y="5117"/>
                    <a:pt x="4195" y="5133"/>
                  </a:cubicBezTo>
                  <a:cubicBezTo>
                    <a:pt x="4210" y="5140"/>
                    <a:pt x="4210" y="5163"/>
                    <a:pt x="4210" y="5177"/>
                  </a:cubicBezTo>
                  <a:cubicBezTo>
                    <a:pt x="4210" y="5207"/>
                    <a:pt x="4195" y="5222"/>
                    <a:pt x="4180" y="5245"/>
                  </a:cubicBezTo>
                  <a:cubicBezTo>
                    <a:pt x="4173" y="5260"/>
                    <a:pt x="4165" y="5267"/>
                    <a:pt x="4158" y="5282"/>
                  </a:cubicBezTo>
                  <a:cubicBezTo>
                    <a:pt x="4135" y="5327"/>
                    <a:pt x="4120" y="5357"/>
                    <a:pt x="4083" y="5395"/>
                  </a:cubicBezTo>
                  <a:cubicBezTo>
                    <a:pt x="4060" y="5417"/>
                    <a:pt x="4038" y="5425"/>
                    <a:pt x="4030" y="5455"/>
                  </a:cubicBezTo>
                  <a:cubicBezTo>
                    <a:pt x="4023" y="5477"/>
                    <a:pt x="4023" y="5492"/>
                    <a:pt x="4008" y="5507"/>
                  </a:cubicBezTo>
                  <a:cubicBezTo>
                    <a:pt x="3993" y="5530"/>
                    <a:pt x="3985" y="5537"/>
                    <a:pt x="3963" y="5552"/>
                  </a:cubicBezTo>
                  <a:cubicBezTo>
                    <a:pt x="3948" y="5560"/>
                    <a:pt x="3940" y="5567"/>
                    <a:pt x="3926" y="5582"/>
                  </a:cubicBezTo>
                  <a:cubicBezTo>
                    <a:pt x="3918" y="5590"/>
                    <a:pt x="3910" y="5605"/>
                    <a:pt x="3896" y="5605"/>
                  </a:cubicBezTo>
                  <a:cubicBezTo>
                    <a:pt x="3880" y="5605"/>
                    <a:pt x="3873" y="5590"/>
                    <a:pt x="3858" y="5575"/>
                  </a:cubicBezTo>
                  <a:cubicBezTo>
                    <a:pt x="3843" y="5567"/>
                    <a:pt x="3836" y="5560"/>
                    <a:pt x="3820" y="5545"/>
                  </a:cubicBezTo>
                  <a:cubicBezTo>
                    <a:pt x="3798" y="5530"/>
                    <a:pt x="3790" y="5515"/>
                    <a:pt x="3776" y="5492"/>
                  </a:cubicBezTo>
                  <a:cubicBezTo>
                    <a:pt x="3768" y="5485"/>
                    <a:pt x="3761" y="5477"/>
                    <a:pt x="3761" y="5455"/>
                  </a:cubicBezTo>
                  <a:cubicBezTo>
                    <a:pt x="3761" y="5432"/>
                    <a:pt x="3776" y="5425"/>
                    <a:pt x="3783" y="5395"/>
                  </a:cubicBezTo>
                  <a:cubicBezTo>
                    <a:pt x="3790" y="5380"/>
                    <a:pt x="3783" y="5372"/>
                    <a:pt x="3783" y="5350"/>
                  </a:cubicBezTo>
                  <a:cubicBezTo>
                    <a:pt x="3783" y="5260"/>
                    <a:pt x="3783" y="5260"/>
                    <a:pt x="3783" y="5260"/>
                  </a:cubicBezTo>
                  <a:cubicBezTo>
                    <a:pt x="3783" y="5237"/>
                    <a:pt x="3783" y="5222"/>
                    <a:pt x="3790" y="5207"/>
                  </a:cubicBezTo>
                  <a:cubicBezTo>
                    <a:pt x="3798" y="5192"/>
                    <a:pt x="3813" y="5192"/>
                    <a:pt x="3813" y="5177"/>
                  </a:cubicBezTo>
                  <a:cubicBezTo>
                    <a:pt x="3813" y="5147"/>
                    <a:pt x="3798" y="5133"/>
                    <a:pt x="3798" y="5103"/>
                  </a:cubicBezTo>
                  <a:cubicBezTo>
                    <a:pt x="3798" y="5080"/>
                    <a:pt x="3798" y="5057"/>
                    <a:pt x="3806" y="5035"/>
                  </a:cubicBezTo>
                  <a:cubicBezTo>
                    <a:pt x="3820" y="5035"/>
                    <a:pt x="3820" y="5043"/>
                    <a:pt x="3836" y="5043"/>
                  </a:cubicBezTo>
                  <a:cubicBezTo>
                    <a:pt x="3896" y="5043"/>
                    <a:pt x="3896" y="5043"/>
                    <a:pt x="3896" y="5043"/>
                  </a:cubicBezTo>
                  <a:cubicBezTo>
                    <a:pt x="3910" y="5043"/>
                    <a:pt x="3926" y="5035"/>
                    <a:pt x="3926" y="5020"/>
                  </a:cubicBezTo>
                  <a:cubicBezTo>
                    <a:pt x="3926" y="4983"/>
                    <a:pt x="3896" y="4968"/>
                    <a:pt x="3866" y="4945"/>
                  </a:cubicBezTo>
                  <a:cubicBezTo>
                    <a:pt x="3850" y="4938"/>
                    <a:pt x="3836" y="4930"/>
                    <a:pt x="3828" y="4915"/>
                  </a:cubicBezTo>
                  <a:cubicBezTo>
                    <a:pt x="3820" y="4915"/>
                    <a:pt x="3820" y="4908"/>
                    <a:pt x="3813" y="4900"/>
                  </a:cubicBezTo>
                  <a:cubicBezTo>
                    <a:pt x="3806" y="4900"/>
                    <a:pt x="3776" y="4908"/>
                    <a:pt x="3761" y="4908"/>
                  </a:cubicBezTo>
                  <a:cubicBezTo>
                    <a:pt x="3776" y="4900"/>
                    <a:pt x="3776" y="4900"/>
                    <a:pt x="3776" y="4900"/>
                  </a:cubicBezTo>
                  <a:cubicBezTo>
                    <a:pt x="3753" y="4900"/>
                    <a:pt x="3738" y="4900"/>
                    <a:pt x="3716" y="4900"/>
                  </a:cubicBezTo>
                  <a:cubicBezTo>
                    <a:pt x="3686" y="4900"/>
                    <a:pt x="3671" y="4908"/>
                    <a:pt x="3641" y="4908"/>
                  </a:cubicBezTo>
                  <a:cubicBezTo>
                    <a:pt x="3618" y="4915"/>
                    <a:pt x="3603" y="4908"/>
                    <a:pt x="3581" y="4915"/>
                  </a:cubicBezTo>
                  <a:cubicBezTo>
                    <a:pt x="3573" y="4923"/>
                    <a:pt x="3573" y="4930"/>
                    <a:pt x="3566" y="4938"/>
                  </a:cubicBezTo>
                  <a:cubicBezTo>
                    <a:pt x="3551" y="4960"/>
                    <a:pt x="3543" y="4968"/>
                    <a:pt x="3528" y="4983"/>
                  </a:cubicBezTo>
                  <a:cubicBezTo>
                    <a:pt x="3521" y="4998"/>
                    <a:pt x="3513" y="5005"/>
                    <a:pt x="3498" y="5020"/>
                  </a:cubicBezTo>
                  <a:cubicBezTo>
                    <a:pt x="3483" y="5027"/>
                    <a:pt x="3468" y="5035"/>
                    <a:pt x="3468" y="5057"/>
                  </a:cubicBezTo>
                  <a:cubicBezTo>
                    <a:pt x="3468" y="5073"/>
                    <a:pt x="3476" y="5080"/>
                    <a:pt x="3491" y="5087"/>
                  </a:cubicBezTo>
                  <a:cubicBezTo>
                    <a:pt x="3461" y="5125"/>
                    <a:pt x="3431" y="5147"/>
                    <a:pt x="3386" y="5170"/>
                  </a:cubicBezTo>
                  <a:cubicBezTo>
                    <a:pt x="3363" y="5185"/>
                    <a:pt x="3356" y="5200"/>
                    <a:pt x="3333" y="5207"/>
                  </a:cubicBezTo>
                  <a:cubicBezTo>
                    <a:pt x="3318" y="5215"/>
                    <a:pt x="3311" y="5215"/>
                    <a:pt x="3296" y="5230"/>
                  </a:cubicBezTo>
                  <a:cubicBezTo>
                    <a:pt x="3288" y="5230"/>
                    <a:pt x="3288" y="5245"/>
                    <a:pt x="3288" y="5260"/>
                  </a:cubicBezTo>
                  <a:cubicBezTo>
                    <a:pt x="3288" y="5267"/>
                    <a:pt x="3296" y="5275"/>
                    <a:pt x="3296" y="5290"/>
                  </a:cubicBezTo>
                  <a:cubicBezTo>
                    <a:pt x="3296" y="5335"/>
                    <a:pt x="3281" y="5372"/>
                    <a:pt x="3243" y="5395"/>
                  </a:cubicBezTo>
                  <a:cubicBezTo>
                    <a:pt x="3214" y="5417"/>
                    <a:pt x="3198" y="5440"/>
                    <a:pt x="3176" y="5462"/>
                  </a:cubicBezTo>
                  <a:cubicBezTo>
                    <a:pt x="3161" y="5485"/>
                    <a:pt x="3138" y="5492"/>
                    <a:pt x="3138" y="5522"/>
                  </a:cubicBezTo>
                  <a:cubicBezTo>
                    <a:pt x="3138" y="5560"/>
                    <a:pt x="3146" y="5590"/>
                    <a:pt x="3168" y="5627"/>
                  </a:cubicBezTo>
                  <a:cubicBezTo>
                    <a:pt x="3101" y="5620"/>
                    <a:pt x="3078" y="5582"/>
                    <a:pt x="3011" y="5560"/>
                  </a:cubicBezTo>
                  <a:cubicBezTo>
                    <a:pt x="2981" y="5545"/>
                    <a:pt x="2959" y="5545"/>
                    <a:pt x="2921" y="5537"/>
                  </a:cubicBezTo>
                  <a:cubicBezTo>
                    <a:pt x="2891" y="5530"/>
                    <a:pt x="2876" y="5522"/>
                    <a:pt x="2846" y="5522"/>
                  </a:cubicBezTo>
                  <a:cubicBezTo>
                    <a:pt x="2809" y="5522"/>
                    <a:pt x="2786" y="5537"/>
                    <a:pt x="2749" y="5545"/>
                  </a:cubicBezTo>
                  <a:cubicBezTo>
                    <a:pt x="2734" y="5552"/>
                    <a:pt x="2726" y="5552"/>
                    <a:pt x="2711" y="5552"/>
                  </a:cubicBezTo>
                  <a:cubicBezTo>
                    <a:pt x="2704" y="5560"/>
                    <a:pt x="2696" y="5567"/>
                    <a:pt x="2689" y="5567"/>
                  </a:cubicBezTo>
                  <a:cubicBezTo>
                    <a:pt x="2674" y="5567"/>
                    <a:pt x="2666" y="5560"/>
                    <a:pt x="2651" y="5552"/>
                  </a:cubicBezTo>
                  <a:cubicBezTo>
                    <a:pt x="2621" y="5545"/>
                    <a:pt x="2607" y="5545"/>
                    <a:pt x="2577" y="5537"/>
                  </a:cubicBezTo>
                  <a:cubicBezTo>
                    <a:pt x="2524" y="5537"/>
                    <a:pt x="2502" y="5537"/>
                    <a:pt x="2449" y="5537"/>
                  </a:cubicBezTo>
                  <a:cubicBezTo>
                    <a:pt x="2382" y="5537"/>
                    <a:pt x="2337" y="5537"/>
                    <a:pt x="2269" y="5545"/>
                  </a:cubicBezTo>
                  <a:cubicBezTo>
                    <a:pt x="2247" y="5552"/>
                    <a:pt x="2232" y="5552"/>
                    <a:pt x="2209" y="5560"/>
                  </a:cubicBezTo>
                  <a:cubicBezTo>
                    <a:pt x="2187" y="5567"/>
                    <a:pt x="2164" y="5560"/>
                    <a:pt x="2142" y="5567"/>
                  </a:cubicBezTo>
                  <a:cubicBezTo>
                    <a:pt x="2059" y="5582"/>
                    <a:pt x="2015" y="5597"/>
                    <a:pt x="1940" y="5620"/>
                  </a:cubicBezTo>
                  <a:cubicBezTo>
                    <a:pt x="1926" y="5627"/>
                    <a:pt x="1910" y="5635"/>
                    <a:pt x="1888" y="5635"/>
                  </a:cubicBezTo>
                  <a:cubicBezTo>
                    <a:pt x="1880" y="5635"/>
                    <a:pt x="1873" y="5635"/>
                    <a:pt x="1866" y="5635"/>
                  </a:cubicBezTo>
                  <a:cubicBezTo>
                    <a:pt x="1850" y="5642"/>
                    <a:pt x="1843" y="5650"/>
                    <a:pt x="1828" y="5650"/>
                  </a:cubicBezTo>
                  <a:cubicBezTo>
                    <a:pt x="1820" y="5650"/>
                    <a:pt x="1820" y="5642"/>
                    <a:pt x="1813" y="5642"/>
                  </a:cubicBezTo>
                  <a:cubicBezTo>
                    <a:pt x="1828" y="5597"/>
                    <a:pt x="1843" y="5582"/>
                    <a:pt x="1873" y="5537"/>
                  </a:cubicBezTo>
                  <a:cubicBezTo>
                    <a:pt x="1888" y="5552"/>
                    <a:pt x="1896" y="5567"/>
                    <a:pt x="1910" y="5567"/>
                  </a:cubicBezTo>
                  <a:cubicBezTo>
                    <a:pt x="1933" y="5567"/>
                    <a:pt x="1940" y="5552"/>
                    <a:pt x="1955" y="5545"/>
                  </a:cubicBezTo>
                  <a:cubicBezTo>
                    <a:pt x="1993" y="5530"/>
                    <a:pt x="2023" y="5530"/>
                    <a:pt x="2044" y="5500"/>
                  </a:cubicBezTo>
                  <a:cubicBezTo>
                    <a:pt x="2067" y="5477"/>
                    <a:pt x="2082" y="5462"/>
                    <a:pt x="2112" y="5432"/>
                  </a:cubicBezTo>
                  <a:cubicBezTo>
                    <a:pt x="2134" y="5410"/>
                    <a:pt x="2157" y="5395"/>
                    <a:pt x="2157" y="5365"/>
                  </a:cubicBezTo>
                  <a:cubicBezTo>
                    <a:pt x="2157" y="5335"/>
                    <a:pt x="2119" y="5342"/>
                    <a:pt x="2097" y="5342"/>
                  </a:cubicBezTo>
                  <a:cubicBezTo>
                    <a:pt x="2067" y="5335"/>
                    <a:pt x="2044" y="5327"/>
                    <a:pt x="2015" y="5327"/>
                  </a:cubicBezTo>
                  <a:cubicBezTo>
                    <a:pt x="2008" y="5327"/>
                    <a:pt x="2008" y="5342"/>
                    <a:pt x="2000" y="5350"/>
                  </a:cubicBezTo>
                  <a:cubicBezTo>
                    <a:pt x="1993" y="5365"/>
                    <a:pt x="1985" y="5380"/>
                    <a:pt x="1970" y="5380"/>
                  </a:cubicBezTo>
                  <a:cubicBezTo>
                    <a:pt x="1955" y="5380"/>
                    <a:pt x="1948" y="5372"/>
                    <a:pt x="1933" y="5372"/>
                  </a:cubicBezTo>
                  <a:cubicBezTo>
                    <a:pt x="1903" y="5372"/>
                    <a:pt x="1896" y="5372"/>
                    <a:pt x="1866" y="5372"/>
                  </a:cubicBezTo>
                  <a:cubicBezTo>
                    <a:pt x="1843" y="5372"/>
                    <a:pt x="1828" y="5380"/>
                    <a:pt x="1813" y="5372"/>
                  </a:cubicBezTo>
                  <a:cubicBezTo>
                    <a:pt x="1783" y="5372"/>
                    <a:pt x="1783" y="5342"/>
                    <a:pt x="1768" y="5320"/>
                  </a:cubicBezTo>
                  <a:cubicBezTo>
                    <a:pt x="1761" y="5312"/>
                    <a:pt x="1753" y="5312"/>
                    <a:pt x="1753" y="5297"/>
                  </a:cubicBezTo>
                  <a:cubicBezTo>
                    <a:pt x="1738" y="5267"/>
                    <a:pt x="1738" y="5245"/>
                    <a:pt x="1716" y="5222"/>
                  </a:cubicBezTo>
                  <a:cubicBezTo>
                    <a:pt x="1701" y="5230"/>
                    <a:pt x="1701" y="5230"/>
                    <a:pt x="1701" y="5230"/>
                  </a:cubicBezTo>
                  <a:cubicBezTo>
                    <a:pt x="1693" y="5252"/>
                    <a:pt x="1678" y="5275"/>
                    <a:pt x="1678" y="5305"/>
                  </a:cubicBezTo>
                  <a:cubicBezTo>
                    <a:pt x="1678" y="5335"/>
                    <a:pt x="1693" y="5342"/>
                    <a:pt x="1701" y="5365"/>
                  </a:cubicBezTo>
                  <a:cubicBezTo>
                    <a:pt x="1708" y="5402"/>
                    <a:pt x="1716" y="5425"/>
                    <a:pt x="1738" y="5455"/>
                  </a:cubicBezTo>
                  <a:cubicBezTo>
                    <a:pt x="1738" y="5462"/>
                    <a:pt x="1738" y="5462"/>
                    <a:pt x="1738" y="5462"/>
                  </a:cubicBezTo>
                  <a:cubicBezTo>
                    <a:pt x="1701" y="5455"/>
                    <a:pt x="1678" y="5455"/>
                    <a:pt x="1648" y="5440"/>
                  </a:cubicBezTo>
                  <a:cubicBezTo>
                    <a:pt x="1618" y="5432"/>
                    <a:pt x="1596" y="5417"/>
                    <a:pt x="1596" y="5387"/>
                  </a:cubicBezTo>
                  <a:cubicBezTo>
                    <a:pt x="1596" y="5350"/>
                    <a:pt x="1603" y="5335"/>
                    <a:pt x="1611" y="5297"/>
                  </a:cubicBezTo>
                  <a:cubicBezTo>
                    <a:pt x="1581" y="5170"/>
                    <a:pt x="1581" y="5170"/>
                    <a:pt x="1581" y="5170"/>
                  </a:cubicBezTo>
                  <a:cubicBezTo>
                    <a:pt x="1581" y="5125"/>
                    <a:pt x="1581" y="5087"/>
                    <a:pt x="1603" y="5043"/>
                  </a:cubicBezTo>
                  <a:cubicBezTo>
                    <a:pt x="1603" y="5027"/>
                    <a:pt x="1618" y="5020"/>
                    <a:pt x="1618" y="5005"/>
                  </a:cubicBezTo>
                  <a:cubicBezTo>
                    <a:pt x="1618" y="4983"/>
                    <a:pt x="1618" y="4983"/>
                    <a:pt x="1618" y="4983"/>
                  </a:cubicBezTo>
                  <a:cubicBezTo>
                    <a:pt x="1596" y="4983"/>
                    <a:pt x="1596" y="4983"/>
                    <a:pt x="1596" y="4983"/>
                  </a:cubicBezTo>
                  <a:cubicBezTo>
                    <a:pt x="1566" y="4983"/>
                    <a:pt x="1558" y="4998"/>
                    <a:pt x="1528" y="5013"/>
                  </a:cubicBezTo>
                  <a:cubicBezTo>
                    <a:pt x="1521" y="5013"/>
                    <a:pt x="1513" y="5020"/>
                    <a:pt x="1498" y="5020"/>
                  </a:cubicBezTo>
                  <a:lnTo>
                    <a:pt x="1498" y="5020"/>
                  </a:lnTo>
                  <a:cubicBezTo>
                    <a:pt x="1491" y="5013"/>
                    <a:pt x="1483" y="4990"/>
                    <a:pt x="1476" y="4975"/>
                  </a:cubicBezTo>
                  <a:cubicBezTo>
                    <a:pt x="1468" y="4968"/>
                    <a:pt x="1468" y="4968"/>
                    <a:pt x="1461" y="4968"/>
                  </a:cubicBezTo>
                  <a:cubicBezTo>
                    <a:pt x="1453" y="4953"/>
                    <a:pt x="1453" y="4945"/>
                    <a:pt x="1453" y="4930"/>
                  </a:cubicBezTo>
                  <a:cubicBezTo>
                    <a:pt x="1438" y="4908"/>
                    <a:pt x="1431" y="4900"/>
                    <a:pt x="1416" y="4878"/>
                  </a:cubicBezTo>
                  <a:lnTo>
                    <a:pt x="1416" y="4878"/>
                  </a:lnTo>
                  <a:cubicBezTo>
                    <a:pt x="1393" y="4863"/>
                    <a:pt x="1379" y="4848"/>
                    <a:pt x="1356" y="4848"/>
                  </a:cubicBezTo>
                  <a:cubicBezTo>
                    <a:pt x="1349" y="4848"/>
                    <a:pt x="1333" y="4848"/>
                    <a:pt x="1333" y="4848"/>
                  </a:cubicBezTo>
                  <a:cubicBezTo>
                    <a:pt x="1326" y="4840"/>
                    <a:pt x="1326" y="4825"/>
                    <a:pt x="1319" y="4818"/>
                  </a:cubicBezTo>
                  <a:cubicBezTo>
                    <a:pt x="1311" y="4795"/>
                    <a:pt x="1289" y="4795"/>
                    <a:pt x="1281" y="4773"/>
                  </a:cubicBezTo>
                  <a:cubicBezTo>
                    <a:pt x="1266" y="4750"/>
                    <a:pt x="1259" y="4735"/>
                    <a:pt x="1251" y="4713"/>
                  </a:cubicBezTo>
                  <a:cubicBezTo>
                    <a:pt x="1243" y="4713"/>
                    <a:pt x="1236" y="4713"/>
                    <a:pt x="1221" y="4713"/>
                  </a:cubicBezTo>
                  <a:cubicBezTo>
                    <a:pt x="1214" y="4720"/>
                    <a:pt x="1214" y="4728"/>
                    <a:pt x="1214" y="4743"/>
                  </a:cubicBezTo>
                  <a:cubicBezTo>
                    <a:pt x="1206" y="4743"/>
                    <a:pt x="1206" y="4743"/>
                    <a:pt x="1199" y="4750"/>
                  </a:cubicBezTo>
                  <a:cubicBezTo>
                    <a:pt x="1169" y="4735"/>
                    <a:pt x="1146" y="4735"/>
                    <a:pt x="1109" y="4735"/>
                  </a:cubicBezTo>
                  <a:lnTo>
                    <a:pt x="1109" y="4735"/>
                  </a:lnTo>
                  <a:cubicBezTo>
                    <a:pt x="1109" y="4705"/>
                    <a:pt x="1094" y="4683"/>
                    <a:pt x="1079" y="4653"/>
                  </a:cubicBezTo>
                  <a:cubicBezTo>
                    <a:pt x="1086" y="4645"/>
                    <a:pt x="1101" y="4638"/>
                    <a:pt x="1109" y="4623"/>
                  </a:cubicBezTo>
                  <a:cubicBezTo>
                    <a:pt x="1116" y="4600"/>
                    <a:pt x="1101" y="4586"/>
                    <a:pt x="1109" y="4556"/>
                  </a:cubicBezTo>
                  <a:cubicBezTo>
                    <a:pt x="1109" y="4540"/>
                    <a:pt x="1116" y="4526"/>
                    <a:pt x="1116" y="4510"/>
                  </a:cubicBezTo>
                  <a:cubicBezTo>
                    <a:pt x="1116" y="4488"/>
                    <a:pt x="1109" y="4481"/>
                    <a:pt x="1109" y="4466"/>
                  </a:cubicBezTo>
                  <a:cubicBezTo>
                    <a:pt x="1109" y="4451"/>
                    <a:pt x="1116" y="4443"/>
                    <a:pt x="1116" y="4436"/>
                  </a:cubicBezTo>
                  <a:cubicBezTo>
                    <a:pt x="1116" y="4406"/>
                    <a:pt x="1071" y="4398"/>
                    <a:pt x="1071" y="4368"/>
                  </a:cubicBezTo>
                  <a:cubicBezTo>
                    <a:pt x="1071" y="4353"/>
                    <a:pt x="1086" y="4346"/>
                    <a:pt x="1086" y="4331"/>
                  </a:cubicBezTo>
                  <a:cubicBezTo>
                    <a:pt x="1086" y="4308"/>
                    <a:pt x="1064" y="4301"/>
                    <a:pt x="1049" y="4286"/>
                  </a:cubicBezTo>
                  <a:cubicBezTo>
                    <a:pt x="1049" y="4293"/>
                    <a:pt x="1041" y="4301"/>
                    <a:pt x="1034" y="4308"/>
                  </a:cubicBezTo>
                  <a:cubicBezTo>
                    <a:pt x="1011" y="4286"/>
                    <a:pt x="1004" y="4256"/>
                    <a:pt x="1004" y="4226"/>
                  </a:cubicBezTo>
                  <a:cubicBezTo>
                    <a:pt x="1004" y="4211"/>
                    <a:pt x="1004" y="4203"/>
                    <a:pt x="1011" y="4196"/>
                  </a:cubicBezTo>
                  <a:cubicBezTo>
                    <a:pt x="989" y="4196"/>
                    <a:pt x="981" y="4196"/>
                    <a:pt x="966" y="4196"/>
                  </a:cubicBezTo>
                  <a:cubicBezTo>
                    <a:pt x="959" y="4173"/>
                    <a:pt x="959" y="4158"/>
                    <a:pt x="959" y="4136"/>
                  </a:cubicBezTo>
                  <a:lnTo>
                    <a:pt x="959" y="4136"/>
                  </a:lnTo>
                  <a:lnTo>
                    <a:pt x="951" y="4121"/>
                  </a:lnTo>
                  <a:cubicBezTo>
                    <a:pt x="936" y="4121"/>
                    <a:pt x="929" y="4128"/>
                    <a:pt x="914" y="4128"/>
                  </a:cubicBezTo>
                  <a:cubicBezTo>
                    <a:pt x="884" y="4128"/>
                    <a:pt x="869" y="4098"/>
                    <a:pt x="839" y="4098"/>
                  </a:cubicBezTo>
                  <a:cubicBezTo>
                    <a:pt x="831" y="4098"/>
                    <a:pt x="824" y="4106"/>
                    <a:pt x="809" y="4113"/>
                  </a:cubicBezTo>
                  <a:cubicBezTo>
                    <a:pt x="809" y="4113"/>
                    <a:pt x="801" y="4113"/>
                    <a:pt x="801" y="4121"/>
                  </a:cubicBezTo>
                  <a:cubicBezTo>
                    <a:pt x="801" y="4136"/>
                    <a:pt x="809" y="4143"/>
                    <a:pt x="809" y="4158"/>
                  </a:cubicBezTo>
                  <a:cubicBezTo>
                    <a:pt x="816" y="4173"/>
                    <a:pt x="816" y="4181"/>
                    <a:pt x="824" y="4196"/>
                  </a:cubicBezTo>
                  <a:cubicBezTo>
                    <a:pt x="831" y="4211"/>
                    <a:pt x="846" y="4211"/>
                    <a:pt x="861" y="4218"/>
                  </a:cubicBezTo>
                  <a:cubicBezTo>
                    <a:pt x="861" y="4226"/>
                    <a:pt x="861" y="4233"/>
                    <a:pt x="861" y="4233"/>
                  </a:cubicBezTo>
                  <a:cubicBezTo>
                    <a:pt x="846" y="4256"/>
                    <a:pt x="824" y="4256"/>
                    <a:pt x="794" y="4271"/>
                  </a:cubicBezTo>
                  <a:cubicBezTo>
                    <a:pt x="771" y="4278"/>
                    <a:pt x="764" y="4286"/>
                    <a:pt x="741" y="4286"/>
                  </a:cubicBezTo>
                  <a:cubicBezTo>
                    <a:pt x="741" y="4293"/>
                    <a:pt x="749" y="4308"/>
                    <a:pt x="741" y="4316"/>
                  </a:cubicBezTo>
                  <a:cubicBezTo>
                    <a:pt x="734" y="4323"/>
                    <a:pt x="726" y="4323"/>
                    <a:pt x="711" y="4323"/>
                  </a:cubicBezTo>
                  <a:cubicBezTo>
                    <a:pt x="704" y="4331"/>
                    <a:pt x="696" y="4331"/>
                    <a:pt x="689" y="4331"/>
                  </a:cubicBezTo>
                  <a:cubicBezTo>
                    <a:pt x="681" y="4338"/>
                    <a:pt x="674" y="4338"/>
                    <a:pt x="667" y="4338"/>
                  </a:cubicBezTo>
                  <a:cubicBezTo>
                    <a:pt x="659" y="4346"/>
                    <a:pt x="659" y="4346"/>
                    <a:pt x="659" y="4353"/>
                  </a:cubicBezTo>
                  <a:cubicBezTo>
                    <a:pt x="644" y="4368"/>
                    <a:pt x="629" y="4391"/>
                    <a:pt x="607" y="4391"/>
                  </a:cubicBezTo>
                  <a:cubicBezTo>
                    <a:pt x="599" y="4391"/>
                    <a:pt x="591" y="4376"/>
                    <a:pt x="584" y="4368"/>
                  </a:cubicBezTo>
                  <a:cubicBezTo>
                    <a:pt x="569" y="4361"/>
                    <a:pt x="561" y="4353"/>
                    <a:pt x="554" y="4338"/>
                  </a:cubicBezTo>
                  <a:cubicBezTo>
                    <a:pt x="554" y="4353"/>
                    <a:pt x="554" y="4361"/>
                    <a:pt x="547" y="4376"/>
                  </a:cubicBezTo>
                  <a:cubicBezTo>
                    <a:pt x="547" y="4383"/>
                    <a:pt x="531" y="4391"/>
                    <a:pt x="531" y="4398"/>
                  </a:cubicBezTo>
                  <a:cubicBezTo>
                    <a:pt x="531" y="4466"/>
                    <a:pt x="531" y="4466"/>
                    <a:pt x="531" y="4466"/>
                  </a:cubicBezTo>
                  <a:cubicBezTo>
                    <a:pt x="524" y="4473"/>
                    <a:pt x="517" y="4488"/>
                    <a:pt x="509" y="4503"/>
                  </a:cubicBezTo>
                  <a:cubicBezTo>
                    <a:pt x="502" y="4503"/>
                    <a:pt x="502" y="4510"/>
                    <a:pt x="494" y="4510"/>
                  </a:cubicBezTo>
                  <a:cubicBezTo>
                    <a:pt x="487" y="4510"/>
                    <a:pt x="479" y="4510"/>
                    <a:pt x="472" y="4503"/>
                  </a:cubicBezTo>
                  <a:cubicBezTo>
                    <a:pt x="464" y="4496"/>
                    <a:pt x="464" y="4481"/>
                    <a:pt x="457" y="4481"/>
                  </a:cubicBezTo>
                  <a:cubicBezTo>
                    <a:pt x="449" y="4481"/>
                    <a:pt x="442" y="4481"/>
                    <a:pt x="434" y="4481"/>
                  </a:cubicBezTo>
                  <a:cubicBezTo>
                    <a:pt x="427" y="4488"/>
                    <a:pt x="427" y="4481"/>
                    <a:pt x="419" y="4481"/>
                  </a:cubicBezTo>
                  <a:cubicBezTo>
                    <a:pt x="404" y="4496"/>
                    <a:pt x="404" y="4503"/>
                    <a:pt x="404" y="4518"/>
                  </a:cubicBezTo>
                  <a:cubicBezTo>
                    <a:pt x="389" y="4540"/>
                    <a:pt x="382" y="4556"/>
                    <a:pt x="374" y="457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136"/>
            <p:cNvSpPr>
              <a:spLocks noChangeArrowheads="1"/>
            </p:cNvSpPr>
            <p:nvPr/>
          </p:nvSpPr>
          <p:spPr bwMode="auto">
            <a:xfrm>
              <a:off x="7055324" y="8408921"/>
              <a:ext cx="1211684" cy="2471159"/>
            </a:xfrm>
            <a:custGeom>
              <a:avLst/>
              <a:gdLst>
                <a:gd name="T0" fmla="*/ 1529 w 2804"/>
                <a:gd name="T1" fmla="*/ 5605 h 5718"/>
                <a:gd name="T2" fmla="*/ 1634 w 2804"/>
                <a:gd name="T3" fmla="*/ 5672 h 5718"/>
                <a:gd name="T4" fmla="*/ 1342 w 2804"/>
                <a:gd name="T5" fmla="*/ 4578 h 5718"/>
                <a:gd name="T6" fmla="*/ 1357 w 2804"/>
                <a:gd name="T7" fmla="*/ 4571 h 5718"/>
                <a:gd name="T8" fmla="*/ 1312 w 2804"/>
                <a:gd name="T9" fmla="*/ 4301 h 5718"/>
                <a:gd name="T10" fmla="*/ 1222 w 2804"/>
                <a:gd name="T11" fmla="*/ 4331 h 5718"/>
                <a:gd name="T12" fmla="*/ 885 w 2804"/>
                <a:gd name="T13" fmla="*/ 4144 h 5718"/>
                <a:gd name="T14" fmla="*/ 960 w 2804"/>
                <a:gd name="T15" fmla="*/ 3941 h 5718"/>
                <a:gd name="T16" fmla="*/ 982 w 2804"/>
                <a:gd name="T17" fmla="*/ 3844 h 5718"/>
                <a:gd name="T18" fmla="*/ 1087 w 2804"/>
                <a:gd name="T19" fmla="*/ 3319 h 5718"/>
                <a:gd name="T20" fmla="*/ 1169 w 2804"/>
                <a:gd name="T21" fmla="*/ 3469 h 5718"/>
                <a:gd name="T22" fmla="*/ 1132 w 2804"/>
                <a:gd name="T23" fmla="*/ 3349 h 5718"/>
                <a:gd name="T24" fmla="*/ 1042 w 2804"/>
                <a:gd name="T25" fmla="*/ 329 h 5718"/>
                <a:gd name="T26" fmla="*/ 1297 w 2804"/>
                <a:gd name="T27" fmla="*/ 247 h 5718"/>
                <a:gd name="T28" fmla="*/ 1417 w 2804"/>
                <a:gd name="T29" fmla="*/ 172 h 5718"/>
                <a:gd name="T30" fmla="*/ 1634 w 2804"/>
                <a:gd name="T31" fmla="*/ 37 h 5718"/>
                <a:gd name="T32" fmla="*/ 2001 w 2804"/>
                <a:gd name="T33" fmla="*/ 97 h 5718"/>
                <a:gd name="T34" fmla="*/ 2114 w 2804"/>
                <a:gd name="T35" fmla="*/ 329 h 5718"/>
                <a:gd name="T36" fmla="*/ 2264 w 2804"/>
                <a:gd name="T37" fmla="*/ 457 h 5718"/>
                <a:gd name="T38" fmla="*/ 2473 w 2804"/>
                <a:gd name="T39" fmla="*/ 412 h 5718"/>
                <a:gd name="T40" fmla="*/ 2518 w 2804"/>
                <a:gd name="T41" fmla="*/ 359 h 5718"/>
                <a:gd name="T42" fmla="*/ 2706 w 2804"/>
                <a:gd name="T43" fmla="*/ 524 h 5718"/>
                <a:gd name="T44" fmla="*/ 2511 w 2804"/>
                <a:gd name="T45" fmla="*/ 1026 h 5718"/>
                <a:gd name="T46" fmla="*/ 2496 w 2804"/>
                <a:gd name="T47" fmla="*/ 1483 h 5718"/>
                <a:gd name="T48" fmla="*/ 2743 w 2804"/>
                <a:gd name="T49" fmla="*/ 1933 h 5718"/>
                <a:gd name="T50" fmla="*/ 2751 w 2804"/>
                <a:gd name="T51" fmla="*/ 2060 h 5718"/>
                <a:gd name="T52" fmla="*/ 2518 w 2804"/>
                <a:gd name="T53" fmla="*/ 2120 h 5718"/>
                <a:gd name="T54" fmla="*/ 2294 w 2804"/>
                <a:gd name="T55" fmla="*/ 2413 h 5718"/>
                <a:gd name="T56" fmla="*/ 2054 w 2804"/>
                <a:gd name="T57" fmla="*/ 2885 h 5718"/>
                <a:gd name="T58" fmla="*/ 1769 w 2804"/>
                <a:gd name="T59" fmla="*/ 3124 h 5718"/>
                <a:gd name="T60" fmla="*/ 1612 w 2804"/>
                <a:gd name="T61" fmla="*/ 3124 h 5718"/>
                <a:gd name="T62" fmla="*/ 1574 w 2804"/>
                <a:gd name="T63" fmla="*/ 3072 h 5718"/>
                <a:gd name="T64" fmla="*/ 1642 w 2804"/>
                <a:gd name="T65" fmla="*/ 3012 h 5718"/>
                <a:gd name="T66" fmla="*/ 1642 w 2804"/>
                <a:gd name="T67" fmla="*/ 2750 h 5718"/>
                <a:gd name="T68" fmla="*/ 1619 w 2804"/>
                <a:gd name="T69" fmla="*/ 2593 h 5718"/>
                <a:gd name="T70" fmla="*/ 1851 w 2804"/>
                <a:gd name="T71" fmla="*/ 2353 h 5718"/>
                <a:gd name="T72" fmla="*/ 1799 w 2804"/>
                <a:gd name="T73" fmla="*/ 2128 h 5718"/>
                <a:gd name="T74" fmla="*/ 1604 w 2804"/>
                <a:gd name="T75" fmla="*/ 2240 h 5718"/>
                <a:gd name="T76" fmla="*/ 1432 w 2804"/>
                <a:gd name="T77" fmla="*/ 2450 h 5718"/>
                <a:gd name="T78" fmla="*/ 1514 w 2804"/>
                <a:gd name="T79" fmla="*/ 2720 h 5718"/>
                <a:gd name="T80" fmla="*/ 1342 w 2804"/>
                <a:gd name="T81" fmla="*/ 2667 h 5718"/>
                <a:gd name="T82" fmla="*/ 922 w 2804"/>
                <a:gd name="T83" fmla="*/ 2697 h 5718"/>
                <a:gd name="T84" fmla="*/ 787 w 2804"/>
                <a:gd name="T85" fmla="*/ 2862 h 5718"/>
                <a:gd name="T86" fmla="*/ 697 w 2804"/>
                <a:gd name="T87" fmla="*/ 2630 h 5718"/>
                <a:gd name="T88" fmla="*/ 622 w 2804"/>
                <a:gd name="T89" fmla="*/ 2503 h 5718"/>
                <a:gd name="T90" fmla="*/ 630 w 2804"/>
                <a:gd name="T91" fmla="*/ 2405 h 5718"/>
                <a:gd name="T92" fmla="*/ 742 w 2804"/>
                <a:gd name="T93" fmla="*/ 2345 h 5718"/>
                <a:gd name="T94" fmla="*/ 847 w 2804"/>
                <a:gd name="T95" fmla="*/ 2143 h 5718"/>
                <a:gd name="T96" fmla="*/ 622 w 2804"/>
                <a:gd name="T97" fmla="*/ 1858 h 5718"/>
                <a:gd name="T98" fmla="*/ 458 w 2804"/>
                <a:gd name="T99" fmla="*/ 1821 h 5718"/>
                <a:gd name="T100" fmla="*/ 353 w 2804"/>
                <a:gd name="T101" fmla="*/ 1686 h 5718"/>
                <a:gd name="T102" fmla="*/ 255 w 2804"/>
                <a:gd name="T103" fmla="*/ 1461 h 5718"/>
                <a:gd name="T104" fmla="*/ 248 w 2804"/>
                <a:gd name="T105" fmla="*/ 1288 h 5718"/>
                <a:gd name="T106" fmla="*/ 270 w 2804"/>
                <a:gd name="T107" fmla="*/ 1056 h 5718"/>
                <a:gd name="T108" fmla="*/ 0 w 2804"/>
                <a:gd name="T109" fmla="*/ 951 h 5718"/>
                <a:gd name="T110" fmla="*/ 135 w 2804"/>
                <a:gd name="T111" fmla="*/ 734 h 5718"/>
                <a:gd name="T112" fmla="*/ 240 w 2804"/>
                <a:gd name="T113" fmla="*/ 636 h 5718"/>
                <a:gd name="T114" fmla="*/ 398 w 2804"/>
                <a:gd name="T115" fmla="*/ 584 h 5718"/>
                <a:gd name="T116" fmla="*/ 570 w 2804"/>
                <a:gd name="T117" fmla="*/ 472 h 5718"/>
                <a:gd name="T118" fmla="*/ 645 w 2804"/>
                <a:gd name="T119" fmla="*/ 247 h 5718"/>
                <a:gd name="T120" fmla="*/ 825 w 2804"/>
                <a:gd name="T121" fmla="*/ 187 h 5718"/>
                <a:gd name="T122" fmla="*/ 937 w 2804"/>
                <a:gd name="T123" fmla="*/ 322 h 5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04" h="5718">
                  <a:moveTo>
                    <a:pt x="1567" y="5598"/>
                  </a:moveTo>
                  <a:lnTo>
                    <a:pt x="1567" y="5598"/>
                  </a:lnTo>
                  <a:cubicBezTo>
                    <a:pt x="1567" y="5590"/>
                    <a:pt x="1559" y="5582"/>
                    <a:pt x="1552" y="5575"/>
                  </a:cubicBezTo>
                  <a:cubicBezTo>
                    <a:pt x="1529" y="5582"/>
                    <a:pt x="1529" y="5582"/>
                    <a:pt x="1529" y="5582"/>
                  </a:cubicBezTo>
                  <a:cubicBezTo>
                    <a:pt x="1529" y="5605"/>
                    <a:pt x="1529" y="5605"/>
                    <a:pt x="1529" y="5605"/>
                  </a:cubicBezTo>
                  <a:cubicBezTo>
                    <a:pt x="1529" y="5620"/>
                    <a:pt x="1537" y="5620"/>
                    <a:pt x="1544" y="5627"/>
                  </a:cubicBezTo>
                  <a:cubicBezTo>
                    <a:pt x="1552" y="5650"/>
                    <a:pt x="1559" y="5657"/>
                    <a:pt x="1567" y="5680"/>
                  </a:cubicBezTo>
                  <a:cubicBezTo>
                    <a:pt x="1574" y="5702"/>
                    <a:pt x="1597" y="5717"/>
                    <a:pt x="1619" y="5717"/>
                  </a:cubicBezTo>
                  <a:cubicBezTo>
                    <a:pt x="1642" y="5717"/>
                    <a:pt x="1642" y="5702"/>
                    <a:pt x="1642" y="5687"/>
                  </a:cubicBezTo>
                  <a:cubicBezTo>
                    <a:pt x="1642" y="5680"/>
                    <a:pt x="1634" y="5680"/>
                    <a:pt x="1634" y="5672"/>
                  </a:cubicBezTo>
                  <a:cubicBezTo>
                    <a:pt x="1627" y="5657"/>
                    <a:pt x="1619" y="5650"/>
                    <a:pt x="1604" y="5642"/>
                  </a:cubicBezTo>
                  <a:cubicBezTo>
                    <a:pt x="1589" y="5627"/>
                    <a:pt x="1582" y="5612"/>
                    <a:pt x="1567" y="5598"/>
                  </a:cubicBezTo>
                  <a:close/>
                  <a:moveTo>
                    <a:pt x="1357" y="4571"/>
                  </a:moveTo>
                  <a:lnTo>
                    <a:pt x="1357" y="4571"/>
                  </a:lnTo>
                  <a:cubicBezTo>
                    <a:pt x="1349" y="4571"/>
                    <a:pt x="1349" y="4571"/>
                    <a:pt x="1342" y="4578"/>
                  </a:cubicBezTo>
                  <a:cubicBezTo>
                    <a:pt x="1342" y="4586"/>
                    <a:pt x="1334" y="4593"/>
                    <a:pt x="1334" y="4601"/>
                  </a:cubicBezTo>
                  <a:cubicBezTo>
                    <a:pt x="1334" y="4616"/>
                    <a:pt x="1349" y="4631"/>
                    <a:pt x="1364" y="4631"/>
                  </a:cubicBezTo>
                  <a:cubicBezTo>
                    <a:pt x="1379" y="4631"/>
                    <a:pt x="1394" y="4631"/>
                    <a:pt x="1394" y="4616"/>
                  </a:cubicBezTo>
                  <a:cubicBezTo>
                    <a:pt x="1394" y="4608"/>
                    <a:pt x="1387" y="4608"/>
                    <a:pt x="1387" y="4601"/>
                  </a:cubicBezTo>
                  <a:cubicBezTo>
                    <a:pt x="1379" y="4593"/>
                    <a:pt x="1364" y="4578"/>
                    <a:pt x="1357" y="4571"/>
                  </a:cubicBezTo>
                  <a:close/>
                  <a:moveTo>
                    <a:pt x="1222" y="4331"/>
                  </a:moveTo>
                  <a:lnTo>
                    <a:pt x="1222" y="4331"/>
                  </a:lnTo>
                  <a:cubicBezTo>
                    <a:pt x="1222" y="4339"/>
                    <a:pt x="1222" y="4346"/>
                    <a:pt x="1229" y="4353"/>
                  </a:cubicBezTo>
                  <a:cubicBezTo>
                    <a:pt x="1237" y="4361"/>
                    <a:pt x="1237" y="4369"/>
                    <a:pt x="1244" y="4369"/>
                  </a:cubicBezTo>
                  <a:cubicBezTo>
                    <a:pt x="1282" y="4369"/>
                    <a:pt x="1312" y="4339"/>
                    <a:pt x="1312" y="4301"/>
                  </a:cubicBezTo>
                  <a:cubicBezTo>
                    <a:pt x="1312" y="4286"/>
                    <a:pt x="1312" y="4263"/>
                    <a:pt x="1297" y="4256"/>
                  </a:cubicBezTo>
                  <a:cubicBezTo>
                    <a:pt x="1289" y="4249"/>
                    <a:pt x="1274" y="4263"/>
                    <a:pt x="1259" y="4263"/>
                  </a:cubicBezTo>
                  <a:cubicBezTo>
                    <a:pt x="1252" y="4263"/>
                    <a:pt x="1244" y="4256"/>
                    <a:pt x="1237" y="4263"/>
                  </a:cubicBezTo>
                  <a:cubicBezTo>
                    <a:pt x="1229" y="4271"/>
                    <a:pt x="1237" y="4279"/>
                    <a:pt x="1229" y="4293"/>
                  </a:cubicBezTo>
                  <a:cubicBezTo>
                    <a:pt x="1229" y="4309"/>
                    <a:pt x="1222" y="4309"/>
                    <a:pt x="1222" y="4331"/>
                  </a:cubicBezTo>
                  <a:close/>
                  <a:moveTo>
                    <a:pt x="855" y="4099"/>
                  </a:moveTo>
                  <a:lnTo>
                    <a:pt x="855" y="4099"/>
                  </a:lnTo>
                  <a:cubicBezTo>
                    <a:pt x="840" y="4099"/>
                    <a:pt x="832" y="4121"/>
                    <a:pt x="825" y="4136"/>
                  </a:cubicBezTo>
                  <a:cubicBezTo>
                    <a:pt x="832" y="4136"/>
                    <a:pt x="832" y="4144"/>
                    <a:pt x="840" y="4144"/>
                  </a:cubicBezTo>
                  <a:cubicBezTo>
                    <a:pt x="862" y="4144"/>
                    <a:pt x="870" y="4144"/>
                    <a:pt x="885" y="4144"/>
                  </a:cubicBezTo>
                  <a:cubicBezTo>
                    <a:pt x="885" y="4129"/>
                    <a:pt x="885" y="4129"/>
                    <a:pt x="885" y="4114"/>
                  </a:cubicBezTo>
                  <a:cubicBezTo>
                    <a:pt x="885" y="4099"/>
                    <a:pt x="870" y="4099"/>
                    <a:pt x="855" y="4099"/>
                  </a:cubicBezTo>
                  <a:close/>
                  <a:moveTo>
                    <a:pt x="952" y="3926"/>
                  </a:moveTo>
                  <a:lnTo>
                    <a:pt x="952" y="3926"/>
                  </a:lnTo>
                  <a:cubicBezTo>
                    <a:pt x="952" y="3934"/>
                    <a:pt x="960" y="3934"/>
                    <a:pt x="960" y="3941"/>
                  </a:cubicBezTo>
                  <a:cubicBezTo>
                    <a:pt x="967" y="3941"/>
                    <a:pt x="967" y="3949"/>
                    <a:pt x="967" y="3949"/>
                  </a:cubicBezTo>
                  <a:cubicBezTo>
                    <a:pt x="982" y="3941"/>
                    <a:pt x="989" y="3926"/>
                    <a:pt x="989" y="3911"/>
                  </a:cubicBezTo>
                  <a:cubicBezTo>
                    <a:pt x="997" y="3896"/>
                    <a:pt x="1005" y="3889"/>
                    <a:pt x="1012" y="3881"/>
                  </a:cubicBezTo>
                  <a:cubicBezTo>
                    <a:pt x="1019" y="3866"/>
                    <a:pt x="1019" y="3859"/>
                    <a:pt x="1019" y="3844"/>
                  </a:cubicBezTo>
                  <a:cubicBezTo>
                    <a:pt x="1005" y="3844"/>
                    <a:pt x="997" y="3844"/>
                    <a:pt x="982" y="3844"/>
                  </a:cubicBezTo>
                  <a:cubicBezTo>
                    <a:pt x="982" y="3851"/>
                    <a:pt x="989" y="3851"/>
                    <a:pt x="989" y="3851"/>
                  </a:cubicBezTo>
                  <a:cubicBezTo>
                    <a:pt x="982" y="3889"/>
                    <a:pt x="952" y="3896"/>
                    <a:pt x="952" y="3926"/>
                  </a:cubicBezTo>
                  <a:close/>
                  <a:moveTo>
                    <a:pt x="1102" y="3312"/>
                  </a:moveTo>
                  <a:lnTo>
                    <a:pt x="1102" y="3312"/>
                  </a:lnTo>
                  <a:cubicBezTo>
                    <a:pt x="1087" y="3319"/>
                    <a:pt x="1087" y="3319"/>
                    <a:pt x="1087" y="3319"/>
                  </a:cubicBezTo>
                  <a:cubicBezTo>
                    <a:pt x="1087" y="3387"/>
                    <a:pt x="1087" y="3387"/>
                    <a:pt x="1087" y="3387"/>
                  </a:cubicBezTo>
                  <a:cubicBezTo>
                    <a:pt x="1087" y="3402"/>
                    <a:pt x="1079" y="3409"/>
                    <a:pt x="1079" y="3432"/>
                  </a:cubicBezTo>
                  <a:cubicBezTo>
                    <a:pt x="1079" y="3447"/>
                    <a:pt x="1095" y="3454"/>
                    <a:pt x="1109" y="3462"/>
                  </a:cubicBezTo>
                  <a:cubicBezTo>
                    <a:pt x="1124" y="3469"/>
                    <a:pt x="1132" y="3492"/>
                    <a:pt x="1147" y="3492"/>
                  </a:cubicBezTo>
                  <a:cubicBezTo>
                    <a:pt x="1154" y="3492"/>
                    <a:pt x="1162" y="3477"/>
                    <a:pt x="1169" y="3469"/>
                  </a:cubicBezTo>
                  <a:cubicBezTo>
                    <a:pt x="1169" y="3469"/>
                    <a:pt x="1177" y="3462"/>
                    <a:pt x="1177" y="3454"/>
                  </a:cubicBezTo>
                  <a:cubicBezTo>
                    <a:pt x="1177" y="3394"/>
                    <a:pt x="1177" y="3394"/>
                    <a:pt x="1177" y="3394"/>
                  </a:cubicBezTo>
                  <a:cubicBezTo>
                    <a:pt x="1184" y="3379"/>
                    <a:pt x="1184" y="3379"/>
                    <a:pt x="1184" y="3379"/>
                  </a:cubicBezTo>
                  <a:cubicBezTo>
                    <a:pt x="1184" y="3372"/>
                    <a:pt x="1184" y="3372"/>
                    <a:pt x="1184" y="3372"/>
                  </a:cubicBezTo>
                  <a:cubicBezTo>
                    <a:pt x="1162" y="3364"/>
                    <a:pt x="1147" y="3364"/>
                    <a:pt x="1132" y="3349"/>
                  </a:cubicBezTo>
                  <a:cubicBezTo>
                    <a:pt x="1117" y="3334"/>
                    <a:pt x="1117" y="3327"/>
                    <a:pt x="1102" y="3312"/>
                  </a:cubicBezTo>
                  <a:close/>
                  <a:moveTo>
                    <a:pt x="952" y="322"/>
                  </a:moveTo>
                  <a:lnTo>
                    <a:pt x="952" y="322"/>
                  </a:lnTo>
                  <a:cubicBezTo>
                    <a:pt x="975" y="322"/>
                    <a:pt x="989" y="307"/>
                    <a:pt x="1005" y="307"/>
                  </a:cubicBezTo>
                  <a:cubicBezTo>
                    <a:pt x="1019" y="314"/>
                    <a:pt x="1027" y="329"/>
                    <a:pt x="1042" y="329"/>
                  </a:cubicBezTo>
                  <a:cubicBezTo>
                    <a:pt x="1072" y="344"/>
                    <a:pt x="1102" y="329"/>
                    <a:pt x="1132" y="344"/>
                  </a:cubicBezTo>
                  <a:lnTo>
                    <a:pt x="1132" y="344"/>
                  </a:lnTo>
                  <a:cubicBezTo>
                    <a:pt x="1169" y="322"/>
                    <a:pt x="1184" y="299"/>
                    <a:pt x="1222" y="269"/>
                  </a:cubicBezTo>
                  <a:cubicBezTo>
                    <a:pt x="1244" y="277"/>
                    <a:pt x="1244" y="277"/>
                    <a:pt x="1244" y="277"/>
                  </a:cubicBezTo>
                  <a:cubicBezTo>
                    <a:pt x="1267" y="269"/>
                    <a:pt x="1274" y="254"/>
                    <a:pt x="1297" y="247"/>
                  </a:cubicBezTo>
                  <a:cubicBezTo>
                    <a:pt x="1304" y="239"/>
                    <a:pt x="1312" y="239"/>
                    <a:pt x="1319" y="232"/>
                  </a:cubicBezTo>
                  <a:cubicBezTo>
                    <a:pt x="1327" y="224"/>
                    <a:pt x="1327" y="217"/>
                    <a:pt x="1334" y="209"/>
                  </a:cubicBezTo>
                  <a:cubicBezTo>
                    <a:pt x="1349" y="202"/>
                    <a:pt x="1364" y="217"/>
                    <a:pt x="1372" y="209"/>
                  </a:cubicBezTo>
                  <a:cubicBezTo>
                    <a:pt x="1379" y="209"/>
                    <a:pt x="1379" y="202"/>
                    <a:pt x="1387" y="202"/>
                  </a:cubicBezTo>
                  <a:cubicBezTo>
                    <a:pt x="1394" y="187"/>
                    <a:pt x="1402" y="179"/>
                    <a:pt x="1417" y="172"/>
                  </a:cubicBezTo>
                  <a:cubicBezTo>
                    <a:pt x="1432" y="157"/>
                    <a:pt x="1439" y="149"/>
                    <a:pt x="1454" y="149"/>
                  </a:cubicBezTo>
                  <a:cubicBezTo>
                    <a:pt x="1469" y="142"/>
                    <a:pt x="1477" y="149"/>
                    <a:pt x="1492" y="142"/>
                  </a:cubicBezTo>
                  <a:cubicBezTo>
                    <a:pt x="1507" y="142"/>
                    <a:pt x="1514" y="135"/>
                    <a:pt x="1529" y="127"/>
                  </a:cubicBezTo>
                  <a:cubicBezTo>
                    <a:pt x="1559" y="119"/>
                    <a:pt x="1574" y="119"/>
                    <a:pt x="1604" y="112"/>
                  </a:cubicBezTo>
                  <a:cubicBezTo>
                    <a:pt x="1604" y="82"/>
                    <a:pt x="1604" y="52"/>
                    <a:pt x="1634" y="37"/>
                  </a:cubicBezTo>
                  <a:cubicBezTo>
                    <a:pt x="1664" y="7"/>
                    <a:pt x="1694" y="0"/>
                    <a:pt x="1731" y="0"/>
                  </a:cubicBezTo>
                  <a:cubicBezTo>
                    <a:pt x="1784" y="0"/>
                    <a:pt x="1814" y="29"/>
                    <a:pt x="1866" y="37"/>
                  </a:cubicBezTo>
                  <a:cubicBezTo>
                    <a:pt x="1904" y="45"/>
                    <a:pt x="1926" y="45"/>
                    <a:pt x="1956" y="59"/>
                  </a:cubicBezTo>
                  <a:cubicBezTo>
                    <a:pt x="1971" y="67"/>
                    <a:pt x="1986" y="75"/>
                    <a:pt x="1994" y="89"/>
                  </a:cubicBezTo>
                  <a:cubicBezTo>
                    <a:pt x="2001" y="89"/>
                    <a:pt x="2001" y="97"/>
                    <a:pt x="2001" y="97"/>
                  </a:cubicBezTo>
                  <a:cubicBezTo>
                    <a:pt x="2016" y="119"/>
                    <a:pt x="2031" y="127"/>
                    <a:pt x="2039" y="149"/>
                  </a:cubicBezTo>
                  <a:cubicBezTo>
                    <a:pt x="2046" y="157"/>
                    <a:pt x="2046" y="172"/>
                    <a:pt x="2054" y="172"/>
                  </a:cubicBezTo>
                  <a:cubicBezTo>
                    <a:pt x="2061" y="187"/>
                    <a:pt x="2076" y="172"/>
                    <a:pt x="2091" y="179"/>
                  </a:cubicBezTo>
                  <a:cubicBezTo>
                    <a:pt x="2099" y="187"/>
                    <a:pt x="2099" y="194"/>
                    <a:pt x="2099" y="209"/>
                  </a:cubicBezTo>
                  <a:cubicBezTo>
                    <a:pt x="2114" y="254"/>
                    <a:pt x="2099" y="284"/>
                    <a:pt x="2114" y="329"/>
                  </a:cubicBezTo>
                  <a:lnTo>
                    <a:pt x="2114" y="329"/>
                  </a:lnTo>
                  <a:cubicBezTo>
                    <a:pt x="2129" y="329"/>
                    <a:pt x="2151" y="329"/>
                    <a:pt x="2166" y="344"/>
                  </a:cubicBezTo>
                  <a:cubicBezTo>
                    <a:pt x="2189" y="352"/>
                    <a:pt x="2181" y="382"/>
                    <a:pt x="2204" y="389"/>
                  </a:cubicBezTo>
                  <a:cubicBezTo>
                    <a:pt x="2219" y="397"/>
                    <a:pt x="2226" y="397"/>
                    <a:pt x="2248" y="397"/>
                  </a:cubicBezTo>
                  <a:cubicBezTo>
                    <a:pt x="2248" y="419"/>
                    <a:pt x="2241" y="442"/>
                    <a:pt x="2264" y="457"/>
                  </a:cubicBezTo>
                  <a:cubicBezTo>
                    <a:pt x="2278" y="472"/>
                    <a:pt x="2294" y="464"/>
                    <a:pt x="2308" y="479"/>
                  </a:cubicBezTo>
                  <a:cubicBezTo>
                    <a:pt x="2331" y="494"/>
                    <a:pt x="2338" y="509"/>
                    <a:pt x="2361" y="509"/>
                  </a:cubicBezTo>
                  <a:cubicBezTo>
                    <a:pt x="2376" y="509"/>
                    <a:pt x="2384" y="494"/>
                    <a:pt x="2398" y="487"/>
                  </a:cubicBezTo>
                  <a:cubicBezTo>
                    <a:pt x="2413" y="472"/>
                    <a:pt x="2421" y="457"/>
                    <a:pt x="2443" y="442"/>
                  </a:cubicBezTo>
                  <a:cubicBezTo>
                    <a:pt x="2451" y="434"/>
                    <a:pt x="2466" y="427"/>
                    <a:pt x="2473" y="412"/>
                  </a:cubicBezTo>
                  <a:cubicBezTo>
                    <a:pt x="2481" y="404"/>
                    <a:pt x="2488" y="397"/>
                    <a:pt x="2488" y="389"/>
                  </a:cubicBezTo>
                  <a:cubicBezTo>
                    <a:pt x="2488" y="374"/>
                    <a:pt x="2473" y="367"/>
                    <a:pt x="2473" y="352"/>
                  </a:cubicBezTo>
                  <a:cubicBezTo>
                    <a:pt x="2466" y="329"/>
                    <a:pt x="2466" y="322"/>
                    <a:pt x="2466" y="299"/>
                  </a:cubicBezTo>
                  <a:cubicBezTo>
                    <a:pt x="2481" y="307"/>
                    <a:pt x="2488" y="314"/>
                    <a:pt x="2496" y="322"/>
                  </a:cubicBezTo>
                  <a:cubicBezTo>
                    <a:pt x="2503" y="337"/>
                    <a:pt x="2503" y="352"/>
                    <a:pt x="2518" y="359"/>
                  </a:cubicBezTo>
                  <a:cubicBezTo>
                    <a:pt x="2548" y="382"/>
                    <a:pt x="2571" y="382"/>
                    <a:pt x="2601" y="389"/>
                  </a:cubicBezTo>
                  <a:cubicBezTo>
                    <a:pt x="2631" y="397"/>
                    <a:pt x="2653" y="397"/>
                    <a:pt x="2676" y="404"/>
                  </a:cubicBezTo>
                  <a:cubicBezTo>
                    <a:pt x="2706" y="412"/>
                    <a:pt x="2713" y="427"/>
                    <a:pt x="2736" y="442"/>
                  </a:cubicBezTo>
                  <a:lnTo>
                    <a:pt x="2736" y="442"/>
                  </a:lnTo>
                  <a:cubicBezTo>
                    <a:pt x="2728" y="472"/>
                    <a:pt x="2721" y="494"/>
                    <a:pt x="2706" y="524"/>
                  </a:cubicBezTo>
                  <a:cubicBezTo>
                    <a:pt x="2676" y="584"/>
                    <a:pt x="2661" y="622"/>
                    <a:pt x="2631" y="689"/>
                  </a:cubicBezTo>
                  <a:cubicBezTo>
                    <a:pt x="2608" y="734"/>
                    <a:pt x="2601" y="764"/>
                    <a:pt x="2578" y="809"/>
                  </a:cubicBezTo>
                  <a:cubicBezTo>
                    <a:pt x="2578" y="824"/>
                    <a:pt x="2563" y="831"/>
                    <a:pt x="2556" y="846"/>
                  </a:cubicBezTo>
                  <a:cubicBezTo>
                    <a:pt x="2533" y="899"/>
                    <a:pt x="2533" y="929"/>
                    <a:pt x="2518" y="981"/>
                  </a:cubicBezTo>
                  <a:cubicBezTo>
                    <a:pt x="2518" y="996"/>
                    <a:pt x="2511" y="1011"/>
                    <a:pt x="2511" y="1026"/>
                  </a:cubicBezTo>
                  <a:cubicBezTo>
                    <a:pt x="2511" y="1064"/>
                    <a:pt x="2533" y="1086"/>
                    <a:pt x="2533" y="1124"/>
                  </a:cubicBezTo>
                  <a:cubicBezTo>
                    <a:pt x="2533" y="1191"/>
                    <a:pt x="2458" y="1206"/>
                    <a:pt x="2458" y="1266"/>
                  </a:cubicBezTo>
                  <a:cubicBezTo>
                    <a:pt x="2458" y="1288"/>
                    <a:pt x="2466" y="1296"/>
                    <a:pt x="2466" y="1311"/>
                  </a:cubicBezTo>
                  <a:cubicBezTo>
                    <a:pt x="2473" y="1356"/>
                    <a:pt x="2473" y="1386"/>
                    <a:pt x="2481" y="1431"/>
                  </a:cubicBezTo>
                  <a:cubicBezTo>
                    <a:pt x="2488" y="1453"/>
                    <a:pt x="2496" y="1468"/>
                    <a:pt x="2496" y="1483"/>
                  </a:cubicBezTo>
                  <a:cubicBezTo>
                    <a:pt x="2503" y="1498"/>
                    <a:pt x="2503" y="1506"/>
                    <a:pt x="2503" y="1513"/>
                  </a:cubicBezTo>
                  <a:cubicBezTo>
                    <a:pt x="2526" y="1573"/>
                    <a:pt x="2548" y="1603"/>
                    <a:pt x="2571" y="1656"/>
                  </a:cubicBezTo>
                  <a:cubicBezTo>
                    <a:pt x="2593" y="1708"/>
                    <a:pt x="2616" y="1731"/>
                    <a:pt x="2646" y="1783"/>
                  </a:cubicBezTo>
                  <a:cubicBezTo>
                    <a:pt x="2661" y="1805"/>
                    <a:pt x="2668" y="1821"/>
                    <a:pt x="2683" y="1843"/>
                  </a:cubicBezTo>
                  <a:cubicBezTo>
                    <a:pt x="2706" y="1873"/>
                    <a:pt x="2721" y="1895"/>
                    <a:pt x="2743" y="1933"/>
                  </a:cubicBezTo>
                  <a:cubicBezTo>
                    <a:pt x="2751" y="1955"/>
                    <a:pt x="2758" y="1970"/>
                    <a:pt x="2773" y="1993"/>
                  </a:cubicBezTo>
                  <a:cubicBezTo>
                    <a:pt x="2781" y="2008"/>
                    <a:pt x="2796" y="2000"/>
                    <a:pt x="2803" y="2000"/>
                  </a:cubicBezTo>
                  <a:cubicBezTo>
                    <a:pt x="2803" y="2075"/>
                    <a:pt x="2803" y="2075"/>
                    <a:pt x="2803" y="2075"/>
                  </a:cubicBezTo>
                  <a:cubicBezTo>
                    <a:pt x="2796" y="2075"/>
                    <a:pt x="2796" y="2075"/>
                    <a:pt x="2788" y="2075"/>
                  </a:cubicBezTo>
                  <a:cubicBezTo>
                    <a:pt x="2773" y="2075"/>
                    <a:pt x="2766" y="2068"/>
                    <a:pt x="2751" y="2060"/>
                  </a:cubicBezTo>
                  <a:cubicBezTo>
                    <a:pt x="2743" y="2060"/>
                    <a:pt x="2736" y="2060"/>
                    <a:pt x="2728" y="2060"/>
                  </a:cubicBezTo>
                  <a:cubicBezTo>
                    <a:pt x="2713" y="2068"/>
                    <a:pt x="2713" y="2068"/>
                    <a:pt x="2713" y="2068"/>
                  </a:cubicBezTo>
                  <a:cubicBezTo>
                    <a:pt x="2713" y="2068"/>
                    <a:pt x="2691" y="2083"/>
                    <a:pt x="2668" y="2083"/>
                  </a:cubicBezTo>
                  <a:cubicBezTo>
                    <a:pt x="2593" y="2083"/>
                    <a:pt x="2593" y="2083"/>
                    <a:pt x="2593" y="2083"/>
                  </a:cubicBezTo>
                  <a:cubicBezTo>
                    <a:pt x="2563" y="2083"/>
                    <a:pt x="2548" y="2105"/>
                    <a:pt x="2518" y="2120"/>
                  </a:cubicBezTo>
                  <a:cubicBezTo>
                    <a:pt x="2496" y="2135"/>
                    <a:pt x="2481" y="2143"/>
                    <a:pt x="2466" y="2158"/>
                  </a:cubicBezTo>
                  <a:cubicBezTo>
                    <a:pt x="2458" y="2165"/>
                    <a:pt x="2458" y="2173"/>
                    <a:pt x="2451" y="2180"/>
                  </a:cubicBezTo>
                  <a:cubicBezTo>
                    <a:pt x="2413" y="2225"/>
                    <a:pt x="2384" y="2248"/>
                    <a:pt x="2346" y="2300"/>
                  </a:cubicBezTo>
                  <a:cubicBezTo>
                    <a:pt x="2331" y="2323"/>
                    <a:pt x="2331" y="2338"/>
                    <a:pt x="2316" y="2360"/>
                  </a:cubicBezTo>
                  <a:cubicBezTo>
                    <a:pt x="2308" y="2383"/>
                    <a:pt x="2301" y="2390"/>
                    <a:pt x="2294" y="2413"/>
                  </a:cubicBezTo>
                  <a:cubicBezTo>
                    <a:pt x="2286" y="2450"/>
                    <a:pt x="2286" y="2480"/>
                    <a:pt x="2286" y="2525"/>
                  </a:cubicBezTo>
                  <a:cubicBezTo>
                    <a:pt x="2278" y="2540"/>
                    <a:pt x="2278" y="2555"/>
                    <a:pt x="2278" y="2577"/>
                  </a:cubicBezTo>
                  <a:cubicBezTo>
                    <a:pt x="2278" y="2765"/>
                    <a:pt x="2278" y="2765"/>
                    <a:pt x="2278" y="2765"/>
                  </a:cubicBezTo>
                  <a:cubicBezTo>
                    <a:pt x="2241" y="2795"/>
                    <a:pt x="2211" y="2802"/>
                    <a:pt x="2166" y="2832"/>
                  </a:cubicBezTo>
                  <a:cubicBezTo>
                    <a:pt x="2129" y="2855"/>
                    <a:pt x="2106" y="2885"/>
                    <a:pt x="2054" y="2885"/>
                  </a:cubicBezTo>
                  <a:cubicBezTo>
                    <a:pt x="2031" y="2885"/>
                    <a:pt x="2009" y="2877"/>
                    <a:pt x="1986" y="2877"/>
                  </a:cubicBezTo>
                  <a:cubicBezTo>
                    <a:pt x="1964" y="2877"/>
                    <a:pt x="1956" y="2892"/>
                    <a:pt x="1941" y="2900"/>
                  </a:cubicBezTo>
                  <a:cubicBezTo>
                    <a:pt x="1926" y="2915"/>
                    <a:pt x="1919" y="2922"/>
                    <a:pt x="1896" y="2930"/>
                  </a:cubicBezTo>
                  <a:cubicBezTo>
                    <a:pt x="1859" y="2952"/>
                    <a:pt x="1851" y="2982"/>
                    <a:pt x="1829" y="3012"/>
                  </a:cubicBezTo>
                  <a:cubicBezTo>
                    <a:pt x="1791" y="3050"/>
                    <a:pt x="1791" y="3087"/>
                    <a:pt x="1769" y="3124"/>
                  </a:cubicBezTo>
                  <a:cubicBezTo>
                    <a:pt x="1747" y="3154"/>
                    <a:pt x="1724" y="3169"/>
                    <a:pt x="1694" y="3169"/>
                  </a:cubicBezTo>
                  <a:cubicBezTo>
                    <a:pt x="1679" y="3169"/>
                    <a:pt x="1679" y="3169"/>
                    <a:pt x="1664" y="3169"/>
                  </a:cubicBezTo>
                  <a:cubicBezTo>
                    <a:pt x="1657" y="3169"/>
                    <a:pt x="1649" y="3177"/>
                    <a:pt x="1642" y="3177"/>
                  </a:cubicBezTo>
                  <a:cubicBezTo>
                    <a:pt x="1627" y="3177"/>
                    <a:pt x="1634" y="3147"/>
                    <a:pt x="1619" y="3132"/>
                  </a:cubicBezTo>
                  <a:cubicBezTo>
                    <a:pt x="1619" y="3132"/>
                    <a:pt x="1612" y="3132"/>
                    <a:pt x="1612" y="3124"/>
                  </a:cubicBezTo>
                  <a:cubicBezTo>
                    <a:pt x="1604" y="3124"/>
                    <a:pt x="1604" y="3132"/>
                    <a:pt x="1597" y="3124"/>
                  </a:cubicBezTo>
                  <a:cubicBezTo>
                    <a:pt x="1589" y="3124"/>
                    <a:pt x="1582" y="3110"/>
                    <a:pt x="1574" y="3110"/>
                  </a:cubicBezTo>
                  <a:cubicBezTo>
                    <a:pt x="1559" y="3102"/>
                    <a:pt x="1552" y="3110"/>
                    <a:pt x="1544" y="3102"/>
                  </a:cubicBezTo>
                  <a:cubicBezTo>
                    <a:pt x="1537" y="3102"/>
                    <a:pt x="1544" y="3094"/>
                    <a:pt x="1537" y="3087"/>
                  </a:cubicBezTo>
                  <a:cubicBezTo>
                    <a:pt x="1544" y="3080"/>
                    <a:pt x="1559" y="3072"/>
                    <a:pt x="1574" y="3072"/>
                  </a:cubicBezTo>
                  <a:cubicBezTo>
                    <a:pt x="1582" y="3072"/>
                    <a:pt x="1589" y="3080"/>
                    <a:pt x="1604" y="3072"/>
                  </a:cubicBezTo>
                  <a:cubicBezTo>
                    <a:pt x="1612" y="3072"/>
                    <a:pt x="1619" y="3064"/>
                    <a:pt x="1627" y="3064"/>
                  </a:cubicBezTo>
                  <a:cubicBezTo>
                    <a:pt x="1634" y="3057"/>
                    <a:pt x="1642" y="3064"/>
                    <a:pt x="1649" y="3057"/>
                  </a:cubicBezTo>
                  <a:cubicBezTo>
                    <a:pt x="1657" y="3057"/>
                    <a:pt x="1657" y="3050"/>
                    <a:pt x="1657" y="3042"/>
                  </a:cubicBezTo>
                  <a:cubicBezTo>
                    <a:pt x="1657" y="3027"/>
                    <a:pt x="1642" y="3020"/>
                    <a:pt x="1642" y="3012"/>
                  </a:cubicBezTo>
                  <a:cubicBezTo>
                    <a:pt x="1627" y="2982"/>
                    <a:pt x="1604" y="2975"/>
                    <a:pt x="1604" y="2945"/>
                  </a:cubicBezTo>
                  <a:cubicBezTo>
                    <a:pt x="1604" y="2907"/>
                    <a:pt x="1627" y="2892"/>
                    <a:pt x="1627" y="2855"/>
                  </a:cubicBezTo>
                  <a:cubicBezTo>
                    <a:pt x="1627" y="2832"/>
                    <a:pt x="1612" y="2817"/>
                    <a:pt x="1612" y="2795"/>
                  </a:cubicBezTo>
                  <a:cubicBezTo>
                    <a:pt x="1612" y="2780"/>
                    <a:pt x="1619" y="2772"/>
                    <a:pt x="1627" y="2757"/>
                  </a:cubicBezTo>
                  <a:cubicBezTo>
                    <a:pt x="1634" y="2757"/>
                    <a:pt x="1642" y="2757"/>
                    <a:pt x="1642" y="2750"/>
                  </a:cubicBezTo>
                  <a:cubicBezTo>
                    <a:pt x="1649" y="2742"/>
                    <a:pt x="1649" y="2735"/>
                    <a:pt x="1649" y="2727"/>
                  </a:cubicBezTo>
                  <a:cubicBezTo>
                    <a:pt x="1649" y="2712"/>
                    <a:pt x="1657" y="2705"/>
                    <a:pt x="1657" y="2697"/>
                  </a:cubicBezTo>
                  <a:cubicBezTo>
                    <a:pt x="1657" y="2682"/>
                    <a:pt x="1649" y="2667"/>
                    <a:pt x="1642" y="2652"/>
                  </a:cubicBezTo>
                  <a:cubicBezTo>
                    <a:pt x="1642" y="2637"/>
                    <a:pt x="1649" y="2630"/>
                    <a:pt x="1642" y="2615"/>
                  </a:cubicBezTo>
                  <a:cubicBezTo>
                    <a:pt x="1634" y="2607"/>
                    <a:pt x="1619" y="2607"/>
                    <a:pt x="1619" y="2593"/>
                  </a:cubicBezTo>
                  <a:cubicBezTo>
                    <a:pt x="1619" y="2570"/>
                    <a:pt x="1642" y="2563"/>
                    <a:pt x="1657" y="2555"/>
                  </a:cubicBezTo>
                  <a:cubicBezTo>
                    <a:pt x="1672" y="2547"/>
                    <a:pt x="1679" y="2533"/>
                    <a:pt x="1694" y="2525"/>
                  </a:cubicBezTo>
                  <a:cubicBezTo>
                    <a:pt x="1724" y="2510"/>
                    <a:pt x="1747" y="2510"/>
                    <a:pt x="1754" y="2480"/>
                  </a:cubicBezTo>
                  <a:cubicBezTo>
                    <a:pt x="1761" y="2465"/>
                    <a:pt x="1761" y="2450"/>
                    <a:pt x="1769" y="2435"/>
                  </a:cubicBezTo>
                  <a:cubicBezTo>
                    <a:pt x="1791" y="2390"/>
                    <a:pt x="1836" y="2390"/>
                    <a:pt x="1851" y="2353"/>
                  </a:cubicBezTo>
                  <a:cubicBezTo>
                    <a:pt x="1866" y="2330"/>
                    <a:pt x="1874" y="2315"/>
                    <a:pt x="1889" y="2308"/>
                  </a:cubicBezTo>
                  <a:cubicBezTo>
                    <a:pt x="1896" y="2300"/>
                    <a:pt x="1904" y="2293"/>
                    <a:pt x="1911" y="2285"/>
                  </a:cubicBezTo>
                  <a:cubicBezTo>
                    <a:pt x="1926" y="2285"/>
                    <a:pt x="1941" y="2285"/>
                    <a:pt x="1941" y="2270"/>
                  </a:cubicBezTo>
                  <a:cubicBezTo>
                    <a:pt x="1941" y="2218"/>
                    <a:pt x="1896" y="2203"/>
                    <a:pt x="1859" y="2173"/>
                  </a:cubicBezTo>
                  <a:cubicBezTo>
                    <a:pt x="1836" y="2158"/>
                    <a:pt x="1821" y="2150"/>
                    <a:pt x="1799" y="2128"/>
                  </a:cubicBezTo>
                  <a:cubicBezTo>
                    <a:pt x="1784" y="2120"/>
                    <a:pt x="1777" y="2105"/>
                    <a:pt x="1761" y="2098"/>
                  </a:cubicBezTo>
                  <a:cubicBezTo>
                    <a:pt x="1754" y="2090"/>
                    <a:pt x="1747" y="2075"/>
                    <a:pt x="1731" y="2075"/>
                  </a:cubicBezTo>
                  <a:cubicBezTo>
                    <a:pt x="1701" y="2075"/>
                    <a:pt x="1694" y="2105"/>
                    <a:pt x="1679" y="2128"/>
                  </a:cubicBezTo>
                  <a:cubicBezTo>
                    <a:pt x="1657" y="2150"/>
                    <a:pt x="1634" y="2158"/>
                    <a:pt x="1619" y="2188"/>
                  </a:cubicBezTo>
                  <a:cubicBezTo>
                    <a:pt x="1612" y="2210"/>
                    <a:pt x="1612" y="2218"/>
                    <a:pt x="1604" y="2240"/>
                  </a:cubicBezTo>
                  <a:cubicBezTo>
                    <a:pt x="1597" y="2248"/>
                    <a:pt x="1582" y="2248"/>
                    <a:pt x="1574" y="2263"/>
                  </a:cubicBezTo>
                  <a:cubicBezTo>
                    <a:pt x="1567" y="2285"/>
                    <a:pt x="1574" y="2300"/>
                    <a:pt x="1574" y="2323"/>
                  </a:cubicBezTo>
                  <a:cubicBezTo>
                    <a:pt x="1567" y="2353"/>
                    <a:pt x="1544" y="2368"/>
                    <a:pt x="1522" y="2390"/>
                  </a:cubicBezTo>
                  <a:cubicBezTo>
                    <a:pt x="1499" y="2413"/>
                    <a:pt x="1484" y="2428"/>
                    <a:pt x="1454" y="2443"/>
                  </a:cubicBezTo>
                  <a:cubicBezTo>
                    <a:pt x="1447" y="2443"/>
                    <a:pt x="1439" y="2443"/>
                    <a:pt x="1432" y="2450"/>
                  </a:cubicBezTo>
                  <a:cubicBezTo>
                    <a:pt x="1417" y="2473"/>
                    <a:pt x="1424" y="2487"/>
                    <a:pt x="1424" y="2517"/>
                  </a:cubicBezTo>
                  <a:cubicBezTo>
                    <a:pt x="1417" y="2533"/>
                    <a:pt x="1409" y="2547"/>
                    <a:pt x="1409" y="2570"/>
                  </a:cubicBezTo>
                  <a:cubicBezTo>
                    <a:pt x="1409" y="2607"/>
                    <a:pt x="1409" y="2637"/>
                    <a:pt x="1439" y="2652"/>
                  </a:cubicBezTo>
                  <a:cubicBezTo>
                    <a:pt x="1462" y="2667"/>
                    <a:pt x="1477" y="2667"/>
                    <a:pt x="1492" y="2682"/>
                  </a:cubicBezTo>
                  <a:cubicBezTo>
                    <a:pt x="1499" y="2690"/>
                    <a:pt x="1514" y="2705"/>
                    <a:pt x="1514" y="2720"/>
                  </a:cubicBezTo>
                  <a:cubicBezTo>
                    <a:pt x="1514" y="2750"/>
                    <a:pt x="1477" y="2757"/>
                    <a:pt x="1447" y="2757"/>
                  </a:cubicBezTo>
                  <a:cubicBezTo>
                    <a:pt x="1439" y="2795"/>
                    <a:pt x="1447" y="2810"/>
                    <a:pt x="1447" y="2847"/>
                  </a:cubicBezTo>
                  <a:cubicBezTo>
                    <a:pt x="1417" y="2847"/>
                    <a:pt x="1402" y="2855"/>
                    <a:pt x="1379" y="2855"/>
                  </a:cubicBezTo>
                  <a:cubicBezTo>
                    <a:pt x="1379" y="2825"/>
                    <a:pt x="1372" y="2802"/>
                    <a:pt x="1364" y="2765"/>
                  </a:cubicBezTo>
                  <a:cubicBezTo>
                    <a:pt x="1364" y="2727"/>
                    <a:pt x="1364" y="2705"/>
                    <a:pt x="1342" y="2667"/>
                  </a:cubicBezTo>
                  <a:cubicBezTo>
                    <a:pt x="1327" y="2645"/>
                    <a:pt x="1304" y="2637"/>
                    <a:pt x="1274" y="2622"/>
                  </a:cubicBezTo>
                  <a:cubicBezTo>
                    <a:pt x="1252" y="2615"/>
                    <a:pt x="1237" y="2600"/>
                    <a:pt x="1207" y="2600"/>
                  </a:cubicBezTo>
                  <a:cubicBezTo>
                    <a:pt x="1154" y="2600"/>
                    <a:pt x="1124" y="2607"/>
                    <a:pt x="1079" y="2622"/>
                  </a:cubicBezTo>
                  <a:cubicBezTo>
                    <a:pt x="1049" y="2630"/>
                    <a:pt x="1035" y="2637"/>
                    <a:pt x="1012" y="2652"/>
                  </a:cubicBezTo>
                  <a:cubicBezTo>
                    <a:pt x="975" y="2667"/>
                    <a:pt x="952" y="2675"/>
                    <a:pt x="922" y="2697"/>
                  </a:cubicBezTo>
                  <a:cubicBezTo>
                    <a:pt x="892" y="2712"/>
                    <a:pt x="877" y="2712"/>
                    <a:pt x="855" y="2727"/>
                  </a:cubicBezTo>
                  <a:cubicBezTo>
                    <a:pt x="840" y="2742"/>
                    <a:pt x="847" y="2757"/>
                    <a:pt x="847" y="2780"/>
                  </a:cubicBezTo>
                  <a:cubicBezTo>
                    <a:pt x="847" y="2802"/>
                    <a:pt x="847" y="2810"/>
                    <a:pt x="847" y="2832"/>
                  </a:cubicBezTo>
                  <a:cubicBezTo>
                    <a:pt x="832" y="2840"/>
                    <a:pt x="825" y="2840"/>
                    <a:pt x="810" y="2840"/>
                  </a:cubicBezTo>
                  <a:cubicBezTo>
                    <a:pt x="802" y="2847"/>
                    <a:pt x="795" y="2855"/>
                    <a:pt x="787" y="2862"/>
                  </a:cubicBezTo>
                  <a:lnTo>
                    <a:pt x="787" y="2862"/>
                  </a:lnTo>
                  <a:cubicBezTo>
                    <a:pt x="757" y="2855"/>
                    <a:pt x="727" y="2847"/>
                    <a:pt x="697" y="2825"/>
                  </a:cubicBezTo>
                  <a:cubicBezTo>
                    <a:pt x="675" y="2802"/>
                    <a:pt x="675" y="2780"/>
                    <a:pt x="667" y="2742"/>
                  </a:cubicBezTo>
                  <a:cubicBezTo>
                    <a:pt x="667" y="2735"/>
                    <a:pt x="652" y="2727"/>
                    <a:pt x="652" y="2712"/>
                  </a:cubicBezTo>
                  <a:cubicBezTo>
                    <a:pt x="652" y="2675"/>
                    <a:pt x="697" y="2667"/>
                    <a:pt x="697" y="2630"/>
                  </a:cubicBezTo>
                  <a:cubicBezTo>
                    <a:pt x="697" y="2622"/>
                    <a:pt x="690" y="2615"/>
                    <a:pt x="690" y="2607"/>
                  </a:cubicBezTo>
                  <a:cubicBezTo>
                    <a:pt x="690" y="2593"/>
                    <a:pt x="690" y="2585"/>
                    <a:pt x="690" y="2570"/>
                  </a:cubicBezTo>
                  <a:cubicBezTo>
                    <a:pt x="690" y="2540"/>
                    <a:pt x="682" y="2525"/>
                    <a:pt x="675" y="2503"/>
                  </a:cubicBezTo>
                  <a:cubicBezTo>
                    <a:pt x="667" y="2495"/>
                    <a:pt x="660" y="2495"/>
                    <a:pt x="645" y="2495"/>
                  </a:cubicBezTo>
                  <a:cubicBezTo>
                    <a:pt x="637" y="2495"/>
                    <a:pt x="630" y="2503"/>
                    <a:pt x="622" y="2503"/>
                  </a:cubicBezTo>
                  <a:cubicBezTo>
                    <a:pt x="607" y="2503"/>
                    <a:pt x="600" y="2495"/>
                    <a:pt x="585" y="2495"/>
                  </a:cubicBezTo>
                  <a:lnTo>
                    <a:pt x="585" y="2495"/>
                  </a:lnTo>
                  <a:cubicBezTo>
                    <a:pt x="600" y="2480"/>
                    <a:pt x="600" y="2465"/>
                    <a:pt x="600" y="2443"/>
                  </a:cubicBezTo>
                  <a:lnTo>
                    <a:pt x="600" y="2435"/>
                  </a:lnTo>
                  <a:cubicBezTo>
                    <a:pt x="607" y="2420"/>
                    <a:pt x="622" y="2413"/>
                    <a:pt x="630" y="2405"/>
                  </a:cubicBezTo>
                  <a:cubicBezTo>
                    <a:pt x="637" y="2405"/>
                    <a:pt x="637" y="2398"/>
                    <a:pt x="645" y="2398"/>
                  </a:cubicBezTo>
                  <a:cubicBezTo>
                    <a:pt x="667" y="2383"/>
                    <a:pt x="690" y="2398"/>
                    <a:pt x="705" y="2383"/>
                  </a:cubicBezTo>
                  <a:cubicBezTo>
                    <a:pt x="720" y="2375"/>
                    <a:pt x="720" y="2368"/>
                    <a:pt x="727" y="2360"/>
                  </a:cubicBezTo>
                  <a:cubicBezTo>
                    <a:pt x="727" y="2360"/>
                    <a:pt x="727" y="2353"/>
                    <a:pt x="735" y="2345"/>
                  </a:cubicBezTo>
                  <a:lnTo>
                    <a:pt x="742" y="2345"/>
                  </a:lnTo>
                  <a:cubicBezTo>
                    <a:pt x="765" y="2338"/>
                    <a:pt x="780" y="2338"/>
                    <a:pt x="795" y="2323"/>
                  </a:cubicBezTo>
                  <a:cubicBezTo>
                    <a:pt x="802" y="2315"/>
                    <a:pt x="802" y="2308"/>
                    <a:pt x="810" y="2293"/>
                  </a:cubicBezTo>
                  <a:cubicBezTo>
                    <a:pt x="817" y="2278"/>
                    <a:pt x="825" y="2263"/>
                    <a:pt x="825" y="2248"/>
                  </a:cubicBezTo>
                  <a:cubicBezTo>
                    <a:pt x="825" y="2218"/>
                    <a:pt x="810" y="2203"/>
                    <a:pt x="810" y="2173"/>
                  </a:cubicBezTo>
                  <a:cubicBezTo>
                    <a:pt x="810" y="2150"/>
                    <a:pt x="832" y="2158"/>
                    <a:pt x="847" y="2143"/>
                  </a:cubicBezTo>
                  <a:lnTo>
                    <a:pt x="847" y="2143"/>
                  </a:lnTo>
                  <a:cubicBezTo>
                    <a:pt x="840" y="2135"/>
                    <a:pt x="840" y="2128"/>
                    <a:pt x="832" y="2120"/>
                  </a:cubicBezTo>
                  <a:cubicBezTo>
                    <a:pt x="810" y="2105"/>
                    <a:pt x="795" y="2098"/>
                    <a:pt x="765" y="2083"/>
                  </a:cubicBezTo>
                  <a:cubicBezTo>
                    <a:pt x="735" y="2068"/>
                    <a:pt x="720" y="2045"/>
                    <a:pt x="697" y="2023"/>
                  </a:cubicBezTo>
                  <a:cubicBezTo>
                    <a:pt x="652" y="1970"/>
                    <a:pt x="660" y="1918"/>
                    <a:pt x="622" y="1858"/>
                  </a:cubicBezTo>
                  <a:lnTo>
                    <a:pt x="622" y="1858"/>
                  </a:lnTo>
                  <a:cubicBezTo>
                    <a:pt x="585" y="1851"/>
                    <a:pt x="585" y="1851"/>
                    <a:pt x="585" y="1851"/>
                  </a:cubicBezTo>
                  <a:cubicBezTo>
                    <a:pt x="555" y="1851"/>
                    <a:pt x="540" y="1858"/>
                    <a:pt x="518" y="1851"/>
                  </a:cubicBezTo>
                  <a:cubicBezTo>
                    <a:pt x="502" y="1843"/>
                    <a:pt x="495" y="1828"/>
                    <a:pt x="480" y="1828"/>
                  </a:cubicBezTo>
                  <a:cubicBezTo>
                    <a:pt x="472" y="1821"/>
                    <a:pt x="465" y="1828"/>
                    <a:pt x="458" y="1821"/>
                  </a:cubicBezTo>
                  <a:cubicBezTo>
                    <a:pt x="450" y="1813"/>
                    <a:pt x="450" y="1798"/>
                    <a:pt x="450" y="1783"/>
                  </a:cubicBezTo>
                  <a:cubicBezTo>
                    <a:pt x="420" y="1783"/>
                    <a:pt x="405" y="1783"/>
                    <a:pt x="375" y="1768"/>
                  </a:cubicBezTo>
                  <a:lnTo>
                    <a:pt x="375" y="1768"/>
                  </a:lnTo>
                  <a:cubicBezTo>
                    <a:pt x="383" y="1761"/>
                    <a:pt x="390" y="1761"/>
                    <a:pt x="390" y="1753"/>
                  </a:cubicBezTo>
                  <a:cubicBezTo>
                    <a:pt x="390" y="1723"/>
                    <a:pt x="360" y="1716"/>
                    <a:pt x="353" y="1686"/>
                  </a:cubicBezTo>
                  <a:cubicBezTo>
                    <a:pt x="345" y="1678"/>
                    <a:pt x="345" y="1671"/>
                    <a:pt x="345" y="1663"/>
                  </a:cubicBezTo>
                  <a:lnTo>
                    <a:pt x="345" y="1663"/>
                  </a:lnTo>
                  <a:cubicBezTo>
                    <a:pt x="323" y="1633"/>
                    <a:pt x="300" y="1633"/>
                    <a:pt x="278" y="1603"/>
                  </a:cubicBezTo>
                  <a:cubicBezTo>
                    <a:pt x="270" y="1581"/>
                    <a:pt x="270" y="1558"/>
                    <a:pt x="270" y="1536"/>
                  </a:cubicBezTo>
                  <a:cubicBezTo>
                    <a:pt x="263" y="1506"/>
                    <a:pt x="278" y="1483"/>
                    <a:pt x="255" y="1461"/>
                  </a:cubicBezTo>
                  <a:cubicBezTo>
                    <a:pt x="248" y="1453"/>
                    <a:pt x="240" y="1461"/>
                    <a:pt x="233" y="1453"/>
                  </a:cubicBezTo>
                  <a:cubicBezTo>
                    <a:pt x="218" y="1446"/>
                    <a:pt x="218" y="1423"/>
                    <a:pt x="210" y="1401"/>
                  </a:cubicBezTo>
                  <a:cubicBezTo>
                    <a:pt x="225" y="1408"/>
                    <a:pt x="240" y="1401"/>
                    <a:pt x="255" y="1401"/>
                  </a:cubicBezTo>
                  <a:cubicBezTo>
                    <a:pt x="255" y="1393"/>
                    <a:pt x="255" y="1386"/>
                    <a:pt x="255" y="1378"/>
                  </a:cubicBezTo>
                  <a:cubicBezTo>
                    <a:pt x="255" y="1341"/>
                    <a:pt x="255" y="1318"/>
                    <a:pt x="248" y="1288"/>
                  </a:cubicBezTo>
                  <a:cubicBezTo>
                    <a:pt x="240" y="1281"/>
                    <a:pt x="233" y="1274"/>
                    <a:pt x="233" y="1266"/>
                  </a:cubicBezTo>
                  <a:cubicBezTo>
                    <a:pt x="233" y="1258"/>
                    <a:pt x="248" y="1258"/>
                    <a:pt x="248" y="1258"/>
                  </a:cubicBezTo>
                  <a:cubicBezTo>
                    <a:pt x="263" y="1236"/>
                    <a:pt x="285" y="1229"/>
                    <a:pt x="285" y="1206"/>
                  </a:cubicBezTo>
                  <a:cubicBezTo>
                    <a:pt x="285" y="1176"/>
                    <a:pt x="270" y="1161"/>
                    <a:pt x="270" y="1131"/>
                  </a:cubicBezTo>
                  <a:cubicBezTo>
                    <a:pt x="270" y="1056"/>
                    <a:pt x="270" y="1056"/>
                    <a:pt x="270" y="1056"/>
                  </a:cubicBezTo>
                  <a:cubicBezTo>
                    <a:pt x="240" y="1056"/>
                    <a:pt x="225" y="1056"/>
                    <a:pt x="195" y="1056"/>
                  </a:cubicBezTo>
                  <a:cubicBezTo>
                    <a:pt x="173" y="1056"/>
                    <a:pt x="158" y="1064"/>
                    <a:pt x="135" y="1064"/>
                  </a:cubicBezTo>
                  <a:cubicBezTo>
                    <a:pt x="98" y="1064"/>
                    <a:pt x="83" y="1064"/>
                    <a:pt x="45" y="1056"/>
                  </a:cubicBezTo>
                  <a:cubicBezTo>
                    <a:pt x="23" y="1049"/>
                    <a:pt x="15" y="1034"/>
                    <a:pt x="8" y="1011"/>
                  </a:cubicBezTo>
                  <a:cubicBezTo>
                    <a:pt x="0" y="989"/>
                    <a:pt x="0" y="974"/>
                    <a:pt x="0" y="951"/>
                  </a:cubicBezTo>
                  <a:cubicBezTo>
                    <a:pt x="0" y="921"/>
                    <a:pt x="8" y="906"/>
                    <a:pt x="15" y="876"/>
                  </a:cubicBezTo>
                  <a:cubicBezTo>
                    <a:pt x="30" y="846"/>
                    <a:pt x="23" y="831"/>
                    <a:pt x="38" y="809"/>
                  </a:cubicBezTo>
                  <a:cubicBezTo>
                    <a:pt x="45" y="801"/>
                    <a:pt x="53" y="794"/>
                    <a:pt x="60" y="786"/>
                  </a:cubicBezTo>
                  <a:cubicBezTo>
                    <a:pt x="68" y="771"/>
                    <a:pt x="68" y="749"/>
                    <a:pt x="83" y="741"/>
                  </a:cubicBezTo>
                  <a:cubicBezTo>
                    <a:pt x="98" y="734"/>
                    <a:pt x="113" y="741"/>
                    <a:pt x="135" y="734"/>
                  </a:cubicBezTo>
                  <a:cubicBezTo>
                    <a:pt x="143" y="734"/>
                    <a:pt x="150" y="734"/>
                    <a:pt x="150" y="726"/>
                  </a:cubicBezTo>
                  <a:cubicBezTo>
                    <a:pt x="150" y="704"/>
                    <a:pt x="135" y="689"/>
                    <a:pt x="135" y="666"/>
                  </a:cubicBezTo>
                  <a:cubicBezTo>
                    <a:pt x="135" y="666"/>
                    <a:pt x="135" y="659"/>
                    <a:pt x="135" y="652"/>
                  </a:cubicBezTo>
                  <a:cubicBezTo>
                    <a:pt x="165" y="652"/>
                    <a:pt x="188" y="644"/>
                    <a:pt x="210" y="636"/>
                  </a:cubicBezTo>
                  <a:cubicBezTo>
                    <a:pt x="225" y="636"/>
                    <a:pt x="225" y="636"/>
                    <a:pt x="240" y="636"/>
                  </a:cubicBezTo>
                  <a:cubicBezTo>
                    <a:pt x="263" y="636"/>
                    <a:pt x="278" y="622"/>
                    <a:pt x="300" y="614"/>
                  </a:cubicBezTo>
                  <a:cubicBezTo>
                    <a:pt x="315" y="606"/>
                    <a:pt x="323" y="614"/>
                    <a:pt x="338" y="606"/>
                  </a:cubicBezTo>
                  <a:lnTo>
                    <a:pt x="338" y="606"/>
                  </a:lnTo>
                  <a:cubicBezTo>
                    <a:pt x="345" y="592"/>
                    <a:pt x="360" y="569"/>
                    <a:pt x="375" y="569"/>
                  </a:cubicBezTo>
                  <a:cubicBezTo>
                    <a:pt x="390" y="569"/>
                    <a:pt x="390" y="576"/>
                    <a:pt x="398" y="584"/>
                  </a:cubicBezTo>
                  <a:cubicBezTo>
                    <a:pt x="412" y="584"/>
                    <a:pt x="420" y="592"/>
                    <a:pt x="435" y="592"/>
                  </a:cubicBezTo>
                  <a:cubicBezTo>
                    <a:pt x="442" y="592"/>
                    <a:pt x="450" y="576"/>
                    <a:pt x="458" y="569"/>
                  </a:cubicBezTo>
                  <a:cubicBezTo>
                    <a:pt x="465" y="562"/>
                    <a:pt x="480" y="554"/>
                    <a:pt x="480" y="547"/>
                  </a:cubicBezTo>
                  <a:cubicBezTo>
                    <a:pt x="480" y="532"/>
                    <a:pt x="480" y="524"/>
                    <a:pt x="480" y="509"/>
                  </a:cubicBezTo>
                  <a:cubicBezTo>
                    <a:pt x="518" y="502"/>
                    <a:pt x="540" y="494"/>
                    <a:pt x="570" y="472"/>
                  </a:cubicBezTo>
                  <a:cubicBezTo>
                    <a:pt x="600" y="457"/>
                    <a:pt x="592" y="419"/>
                    <a:pt x="585" y="382"/>
                  </a:cubicBezTo>
                  <a:cubicBezTo>
                    <a:pt x="645" y="382"/>
                    <a:pt x="645" y="382"/>
                    <a:pt x="645" y="382"/>
                  </a:cubicBezTo>
                  <a:cubicBezTo>
                    <a:pt x="652" y="374"/>
                    <a:pt x="652" y="374"/>
                    <a:pt x="652" y="367"/>
                  </a:cubicBezTo>
                  <a:cubicBezTo>
                    <a:pt x="652" y="329"/>
                    <a:pt x="645" y="314"/>
                    <a:pt x="645" y="277"/>
                  </a:cubicBezTo>
                  <a:cubicBezTo>
                    <a:pt x="645" y="269"/>
                    <a:pt x="645" y="262"/>
                    <a:pt x="645" y="247"/>
                  </a:cubicBezTo>
                  <a:cubicBezTo>
                    <a:pt x="667" y="247"/>
                    <a:pt x="675" y="247"/>
                    <a:pt x="697" y="247"/>
                  </a:cubicBezTo>
                  <a:cubicBezTo>
                    <a:pt x="720" y="247"/>
                    <a:pt x="735" y="247"/>
                    <a:pt x="750" y="232"/>
                  </a:cubicBezTo>
                  <a:cubicBezTo>
                    <a:pt x="750" y="224"/>
                    <a:pt x="757" y="232"/>
                    <a:pt x="765" y="224"/>
                  </a:cubicBezTo>
                  <a:cubicBezTo>
                    <a:pt x="780" y="202"/>
                    <a:pt x="787" y="179"/>
                    <a:pt x="795" y="149"/>
                  </a:cubicBezTo>
                  <a:cubicBezTo>
                    <a:pt x="802" y="164"/>
                    <a:pt x="810" y="179"/>
                    <a:pt x="825" y="187"/>
                  </a:cubicBezTo>
                  <a:cubicBezTo>
                    <a:pt x="840" y="194"/>
                    <a:pt x="855" y="194"/>
                    <a:pt x="862" y="209"/>
                  </a:cubicBezTo>
                  <a:cubicBezTo>
                    <a:pt x="870" y="224"/>
                    <a:pt x="877" y="232"/>
                    <a:pt x="877" y="247"/>
                  </a:cubicBezTo>
                  <a:cubicBezTo>
                    <a:pt x="885" y="254"/>
                    <a:pt x="877" y="269"/>
                    <a:pt x="885" y="269"/>
                  </a:cubicBezTo>
                  <a:cubicBezTo>
                    <a:pt x="900" y="284"/>
                    <a:pt x="915" y="269"/>
                    <a:pt x="922" y="284"/>
                  </a:cubicBezTo>
                  <a:cubicBezTo>
                    <a:pt x="937" y="292"/>
                    <a:pt x="930" y="307"/>
                    <a:pt x="937" y="322"/>
                  </a:cubicBezTo>
                  <a:cubicBezTo>
                    <a:pt x="952" y="322"/>
                    <a:pt x="952" y="322"/>
                    <a:pt x="952" y="32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137"/>
            <p:cNvSpPr>
              <a:spLocks noChangeArrowheads="1"/>
            </p:cNvSpPr>
            <p:nvPr/>
          </p:nvSpPr>
          <p:spPr bwMode="auto">
            <a:xfrm>
              <a:off x="7438262" y="5613862"/>
              <a:ext cx="1415536" cy="3014167"/>
            </a:xfrm>
            <a:custGeom>
              <a:avLst/>
              <a:gdLst>
                <a:gd name="T0" fmla="*/ 599 w 3276"/>
                <a:gd name="T1" fmla="*/ 4542 h 6977"/>
                <a:gd name="T2" fmla="*/ 742 w 3276"/>
                <a:gd name="T3" fmla="*/ 4751 h 6977"/>
                <a:gd name="T4" fmla="*/ 592 w 3276"/>
                <a:gd name="T5" fmla="*/ 4968 h 6977"/>
                <a:gd name="T6" fmla="*/ 517 w 3276"/>
                <a:gd name="T7" fmla="*/ 5395 h 6977"/>
                <a:gd name="T8" fmla="*/ 644 w 3276"/>
                <a:gd name="T9" fmla="*/ 5515 h 6977"/>
                <a:gd name="T10" fmla="*/ 464 w 3276"/>
                <a:gd name="T11" fmla="*/ 5740 h 6977"/>
                <a:gd name="T12" fmla="*/ 404 w 3276"/>
                <a:gd name="T13" fmla="*/ 5949 h 6977"/>
                <a:gd name="T14" fmla="*/ 194 w 3276"/>
                <a:gd name="T15" fmla="*/ 6032 h 6977"/>
                <a:gd name="T16" fmla="*/ 60 w 3276"/>
                <a:gd name="T17" fmla="*/ 6182 h 6977"/>
                <a:gd name="T18" fmla="*/ 75 w 3276"/>
                <a:gd name="T19" fmla="*/ 6504 h 6977"/>
                <a:gd name="T20" fmla="*/ 82 w 3276"/>
                <a:gd name="T21" fmla="*/ 6721 h 6977"/>
                <a:gd name="T22" fmla="*/ 247 w 3276"/>
                <a:gd name="T23" fmla="*/ 6811 h 6977"/>
                <a:gd name="T24" fmla="*/ 502 w 3276"/>
                <a:gd name="T25" fmla="*/ 6669 h 6977"/>
                <a:gd name="T26" fmla="*/ 846 w 3276"/>
                <a:gd name="T27" fmla="*/ 6467 h 6977"/>
                <a:gd name="T28" fmla="*/ 1206 w 3276"/>
                <a:gd name="T29" fmla="*/ 6646 h 6977"/>
                <a:gd name="T30" fmla="*/ 1379 w 3276"/>
                <a:gd name="T31" fmla="*/ 6924 h 6977"/>
                <a:gd name="T32" fmla="*/ 1588 w 3276"/>
                <a:gd name="T33" fmla="*/ 6819 h 6977"/>
                <a:gd name="T34" fmla="*/ 1851 w 3276"/>
                <a:gd name="T35" fmla="*/ 6909 h 6977"/>
                <a:gd name="T36" fmla="*/ 2046 w 3276"/>
                <a:gd name="T37" fmla="*/ 6706 h 6977"/>
                <a:gd name="T38" fmla="*/ 2113 w 3276"/>
                <a:gd name="T39" fmla="*/ 6189 h 6977"/>
                <a:gd name="T40" fmla="*/ 2061 w 3276"/>
                <a:gd name="T41" fmla="*/ 5620 h 6977"/>
                <a:gd name="T42" fmla="*/ 2165 w 3276"/>
                <a:gd name="T43" fmla="*/ 4804 h 6977"/>
                <a:gd name="T44" fmla="*/ 2315 w 3276"/>
                <a:gd name="T45" fmla="*/ 4676 h 6977"/>
                <a:gd name="T46" fmla="*/ 2570 w 3276"/>
                <a:gd name="T47" fmla="*/ 4736 h 6977"/>
                <a:gd name="T48" fmla="*/ 2630 w 3276"/>
                <a:gd name="T49" fmla="*/ 4616 h 6977"/>
                <a:gd name="T50" fmla="*/ 2623 w 3276"/>
                <a:gd name="T51" fmla="*/ 4452 h 6977"/>
                <a:gd name="T52" fmla="*/ 2585 w 3276"/>
                <a:gd name="T53" fmla="*/ 4309 h 6977"/>
                <a:gd name="T54" fmla="*/ 2735 w 3276"/>
                <a:gd name="T55" fmla="*/ 4047 h 6977"/>
                <a:gd name="T56" fmla="*/ 2817 w 3276"/>
                <a:gd name="T57" fmla="*/ 3942 h 6977"/>
                <a:gd name="T58" fmla="*/ 2892 w 3276"/>
                <a:gd name="T59" fmla="*/ 3822 h 6977"/>
                <a:gd name="T60" fmla="*/ 3035 w 3276"/>
                <a:gd name="T61" fmla="*/ 3740 h 6977"/>
                <a:gd name="T62" fmla="*/ 3072 w 3276"/>
                <a:gd name="T63" fmla="*/ 3665 h 6977"/>
                <a:gd name="T64" fmla="*/ 3080 w 3276"/>
                <a:gd name="T65" fmla="*/ 3507 h 6977"/>
                <a:gd name="T66" fmla="*/ 3102 w 3276"/>
                <a:gd name="T67" fmla="*/ 3425 h 6977"/>
                <a:gd name="T68" fmla="*/ 3147 w 3276"/>
                <a:gd name="T69" fmla="*/ 3305 h 6977"/>
                <a:gd name="T70" fmla="*/ 3177 w 3276"/>
                <a:gd name="T71" fmla="*/ 3200 h 6977"/>
                <a:gd name="T72" fmla="*/ 3162 w 3276"/>
                <a:gd name="T73" fmla="*/ 3140 h 6977"/>
                <a:gd name="T74" fmla="*/ 3237 w 3276"/>
                <a:gd name="T75" fmla="*/ 2923 h 6977"/>
                <a:gd name="T76" fmla="*/ 3200 w 3276"/>
                <a:gd name="T77" fmla="*/ 2781 h 6977"/>
                <a:gd name="T78" fmla="*/ 3087 w 3276"/>
                <a:gd name="T79" fmla="*/ 2263 h 6977"/>
                <a:gd name="T80" fmla="*/ 3042 w 3276"/>
                <a:gd name="T81" fmla="*/ 2061 h 6977"/>
                <a:gd name="T82" fmla="*/ 2907 w 3276"/>
                <a:gd name="T83" fmla="*/ 1799 h 6977"/>
                <a:gd name="T84" fmla="*/ 2540 w 3276"/>
                <a:gd name="T85" fmla="*/ 1154 h 6977"/>
                <a:gd name="T86" fmla="*/ 2578 w 3276"/>
                <a:gd name="T87" fmla="*/ 285 h 6977"/>
                <a:gd name="T88" fmla="*/ 2270 w 3276"/>
                <a:gd name="T89" fmla="*/ 210 h 6977"/>
                <a:gd name="T90" fmla="*/ 1963 w 3276"/>
                <a:gd name="T91" fmla="*/ 75 h 6977"/>
                <a:gd name="T92" fmla="*/ 1836 w 3276"/>
                <a:gd name="T93" fmla="*/ 420 h 6977"/>
                <a:gd name="T94" fmla="*/ 2225 w 3276"/>
                <a:gd name="T95" fmla="*/ 480 h 6977"/>
                <a:gd name="T96" fmla="*/ 2345 w 3276"/>
                <a:gd name="T97" fmla="*/ 667 h 6977"/>
                <a:gd name="T98" fmla="*/ 2068 w 3276"/>
                <a:gd name="T99" fmla="*/ 907 h 6977"/>
                <a:gd name="T100" fmla="*/ 1783 w 3276"/>
                <a:gd name="T101" fmla="*/ 1057 h 6977"/>
                <a:gd name="T102" fmla="*/ 1641 w 3276"/>
                <a:gd name="T103" fmla="*/ 502 h 6977"/>
                <a:gd name="T104" fmla="*/ 1393 w 3276"/>
                <a:gd name="T105" fmla="*/ 480 h 6977"/>
                <a:gd name="T106" fmla="*/ 1304 w 3276"/>
                <a:gd name="T107" fmla="*/ 750 h 6977"/>
                <a:gd name="T108" fmla="*/ 1266 w 3276"/>
                <a:gd name="T109" fmla="*/ 1005 h 6977"/>
                <a:gd name="T110" fmla="*/ 981 w 3276"/>
                <a:gd name="T111" fmla="*/ 1169 h 6977"/>
                <a:gd name="T112" fmla="*/ 839 w 3276"/>
                <a:gd name="T113" fmla="*/ 1454 h 6977"/>
                <a:gd name="T114" fmla="*/ 906 w 3276"/>
                <a:gd name="T115" fmla="*/ 2099 h 6977"/>
                <a:gd name="T116" fmla="*/ 592 w 3276"/>
                <a:gd name="T117" fmla="*/ 2368 h 6977"/>
                <a:gd name="T118" fmla="*/ 816 w 3276"/>
                <a:gd name="T119" fmla="*/ 2473 h 6977"/>
                <a:gd name="T120" fmla="*/ 966 w 3276"/>
                <a:gd name="T121" fmla="*/ 3110 h 6977"/>
                <a:gd name="T122" fmla="*/ 824 w 3276"/>
                <a:gd name="T123" fmla="*/ 3455 h 6977"/>
                <a:gd name="T124" fmla="*/ 637 w 3276"/>
                <a:gd name="T125" fmla="*/ 4152 h 6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76" h="6977">
                  <a:moveTo>
                    <a:pt x="404" y="4444"/>
                  </a:moveTo>
                  <a:lnTo>
                    <a:pt x="404" y="4444"/>
                  </a:lnTo>
                  <a:cubicBezTo>
                    <a:pt x="412" y="4452"/>
                    <a:pt x="419" y="4474"/>
                    <a:pt x="434" y="4482"/>
                  </a:cubicBezTo>
                  <a:cubicBezTo>
                    <a:pt x="442" y="4482"/>
                    <a:pt x="457" y="4482"/>
                    <a:pt x="464" y="4482"/>
                  </a:cubicBezTo>
                  <a:cubicBezTo>
                    <a:pt x="479" y="4489"/>
                    <a:pt x="494" y="4504"/>
                    <a:pt x="509" y="4512"/>
                  </a:cubicBezTo>
                  <a:cubicBezTo>
                    <a:pt x="532" y="4519"/>
                    <a:pt x="547" y="4519"/>
                    <a:pt x="562" y="4527"/>
                  </a:cubicBezTo>
                  <a:cubicBezTo>
                    <a:pt x="577" y="4527"/>
                    <a:pt x="592" y="4527"/>
                    <a:pt x="599" y="4542"/>
                  </a:cubicBezTo>
                  <a:cubicBezTo>
                    <a:pt x="607" y="4549"/>
                    <a:pt x="599" y="4557"/>
                    <a:pt x="599" y="4564"/>
                  </a:cubicBezTo>
                  <a:cubicBezTo>
                    <a:pt x="607" y="4602"/>
                    <a:pt x="614" y="4616"/>
                    <a:pt x="614" y="4654"/>
                  </a:cubicBezTo>
                  <a:cubicBezTo>
                    <a:pt x="614" y="4662"/>
                    <a:pt x="607" y="4662"/>
                    <a:pt x="607" y="4669"/>
                  </a:cubicBezTo>
                  <a:cubicBezTo>
                    <a:pt x="607" y="4684"/>
                    <a:pt x="614" y="4692"/>
                    <a:pt x="622" y="4699"/>
                  </a:cubicBezTo>
                  <a:cubicBezTo>
                    <a:pt x="629" y="4714"/>
                    <a:pt x="629" y="4721"/>
                    <a:pt x="629" y="4736"/>
                  </a:cubicBezTo>
                  <a:cubicBezTo>
                    <a:pt x="652" y="4736"/>
                    <a:pt x="667" y="4744"/>
                    <a:pt x="689" y="4744"/>
                  </a:cubicBezTo>
                  <a:cubicBezTo>
                    <a:pt x="712" y="4751"/>
                    <a:pt x="727" y="4744"/>
                    <a:pt x="742" y="4751"/>
                  </a:cubicBezTo>
                  <a:cubicBezTo>
                    <a:pt x="764" y="4759"/>
                    <a:pt x="764" y="4781"/>
                    <a:pt x="779" y="4796"/>
                  </a:cubicBezTo>
                  <a:cubicBezTo>
                    <a:pt x="794" y="4819"/>
                    <a:pt x="816" y="4834"/>
                    <a:pt x="816" y="4863"/>
                  </a:cubicBezTo>
                  <a:cubicBezTo>
                    <a:pt x="816" y="4870"/>
                    <a:pt x="809" y="4870"/>
                    <a:pt x="802" y="4870"/>
                  </a:cubicBezTo>
                  <a:cubicBezTo>
                    <a:pt x="802" y="4878"/>
                    <a:pt x="802" y="4878"/>
                    <a:pt x="794" y="4885"/>
                  </a:cubicBezTo>
                  <a:cubicBezTo>
                    <a:pt x="787" y="4915"/>
                    <a:pt x="764" y="4930"/>
                    <a:pt x="734" y="4938"/>
                  </a:cubicBezTo>
                  <a:cubicBezTo>
                    <a:pt x="704" y="4953"/>
                    <a:pt x="689" y="4975"/>
                    <a:pt x="659" y="4975"/>
                  </a:cubicBezTo>
                  <a:cubicBezTo>
                    <a:pt x="629" y="4975"/>
                    <a:pt x="614" y="4968"/>
                    <a:pt x="592" y="4968"/>
                  </a:cubicBezTo>
                  <a:cubicBezTo>
                    <a:pt x="562" y="5133"/>
                    <a:pt x="562" y="5133"/>
                    <a:pt x="562" y="5133"/>
                  </a:cubicBezTo>
                  <a:cubicBezTo>
                    <a:pt x="577" y="5140"/>
                    <a:pt x="584" y="5140"/>
                    <a:pt x="584" y="5148"/>
                  </a:cubicBezTo>
                  <a:cubicBezTo>
                    <a:pt x="584" y="5163"/>
                    <a:pt x="577" y="5170"/>
                    <a:pt x="577" y="5178"/>
                  </a:cubicBezTo>
                  <a:cubicBezTo>
                    <a:pt x="569" y="5185"/>
                    <a:pt x="569" y="5193"/>
                    <a:pt x="562" y="5200"/>
                  </a:cubicBezTo>
                  <a:cubicBezTo>
                    <a:pt x="562" y="5208"/>
                    <a:pt x="547" y="5208"/>
                    <a:pt x="547" y="5223"/>
                  </a:cubicBezTo>
                  <a:cubicBezTo>
                    <a:pt x="532" y="5238"/>
                    <a:pt x="539" y="5252"/>
                    <a:pt x="532" y="5267"/>
                  </a:cubicBezTo>
                  <a:cubicBezTo>
                    <a:pt x="517" y="5313"/>
                    <a:pt x="517" y="5343"/>
                    <a:pt x="517" y="5395"/>
                  </a:cubicBezTo>
                  <a:cubicBezTo>
                    <a:pt x="517" y="5410"/>
                    <a:pt x="517" y="5425"/>
                    <a:pt x="532" y="5432"/>
                  </a:cubicBezTo>
                  <a:cubicBezTo>
                    <a:pt x="539" y="5440"/>
                    <a:pt x="547" y="5440"/>
                    <a:pt x="554" y="5447"/>
                  </a:cubicBezTo>
                  <a:cubicBezTo>
                    <a:pt x="562" y="5455"/>
                    <a:pt x="569" y="5462"/>
                    <a:pt x="577" y="5470"/>
                  </a:cubicBezTo>
                  <a:cubicBezTo>
                    <a:pt x="592" y="5470"/>
                    <a:pt x="607" y="5462"/>
                    <a:pt x="614" y="5470"/>
                  </a:cubicBezTo>
                  <a:cubicBezTo>
                    <a:pt x="622" y="5477"/>
                    <a:pt x="622" y="5485"/>
                    <a:pt x="622" y="5492"/>
                  </a:cubicBezTo>
                  <a:cubicBezTo>
                    <a:pt x="629" y="5507"/>
                    <a:pt x="637" y="5507"/>
                    <a:pt x="644" y="5515"/>
                  </a:cubicBezTo>
                  <a:lnTo>
                    <a:pt x="644" y="5515"/>
                  </a:lnTo>
                  <a:cubicBezTo>
                    <a:pt x="629" y="5537"/>
                    <a:pt x="622" y="5552"/>
                    <a:pt x="599" y="5575"/>
                  </a:cubicBezTo>
                  <a:cubicBezTo>
                    <a:pt x="584" y="5582"/>
                    <a:pt x="577" y="5582"/>
                    <a:pt x="569" y="5590"/>
                  </a:cubicBezTo>
                  <a:cubicBezTo>
                    <a:pt x="554" y="5612"/>
                    <a:pt x="554" y="5635"/>
                    <a:pt x="532" y="5657"/>
                  </a:cubicBezTo>
                  <a:cubicBezTo>
                    <a:pt x="532" y="5657"/>
                    <a:pt x="524" y="5657"/>
                    <a:pt x="524" y="5665"/>
                  </a:cubicBezTo>
                  <a:cubicBezTo>
                    <a:pt x="517" y="5672"/>
                    <a:pt x="517" y="5680"/>
                    <a:pt x="517" y="5687"/>
                  </a:cubicBezTo>
                  <a:cubicBezTo>
                    <a:pt x="509" y="5702"/>
                    <a:pt x="502" y="5710"/>
                    <a:pt x="487" y="5725"/>
                  </a:cubicBezTo>
                  <a:cubicBezTo>
                    <a:pt x="479" y="5725"/>
                    <a:pt x="472" y="5732"/>
                    <a:pt x="464" y="5740"/>
                  </a:cubicBezTo>
                  <a:cubicBezTo>
                    <a:pt x="449" y="5755"/>
                    <a:pt x="427" y="5762"/>
                    <a:pt x="427" y="5777"/>
                  </a:cubicBezTo>
                  <a:cubicBezTo>
                    <a:pt x="427" y="5814"/>
                    <a:pt x="434" y="5837"/>
                    <a:pt x="442" y="5867"/>
                  </a:cubicBezTo>
                  <a:cubicBezTo>
                    <a:pt x="442" y="5890"/>
                    <a:pt x="434" y="5904"/>
                    <a:pt x="442" y="5920"/>
                  </a:cubicBezTo>
                  <a:cubicBezTo>
                    <a:pt x="442" y="5927"/>
                    <a:pt x="457" y="5920"/>
                    <a:pt x="457" y="5927"/>
                  </a:cubicBezTo>
                  <a:cubicBezTo>
                    <a:pt x="457" y="5934"/>
                    <a:pt x="464" y="5942"/>
                    <a:pt x="464" y="5949"/>
                  </a:cubicBezTo>
                  <a:cubicBezTo>
                    <a:pt x="464" y="5964"/>
                    <a:pt x="449" y="5964"/>
                    <a:pt x="442" y="5964"/>
                  </a:cubicBezTo>
                  <a:cubicBezTo>
                    <a:pt x="427" y="5964"/>
                    <a:pt x="419" y="5949"/>
                    <a:pt x="404" y="5949"/>
                  </a:cubicBezTo>
                  <a:cubicBezTo>
                    <a:pt x="382" y="5949"/>
                    <a:pt x="374" y="5972"/>
                    <a:pt x="352" y="5972"/>
                  </a:cubicBezTo>
                  <a:cubicBezTo>
                    <a:pt x="337" y="5972"/>
                    <a:pt x="329" y="5957"/>
                    <a:pt x="314" y="5957"/>
                  </a:cubicBezTo>
                  <a:cubicBezTo>
                    <a:pt x="307" y="5957"/>
                    <a:pt x="307" y="5964"/>
                    <a:pt x="299" y="5964"/>
                  </a:cubicBezTo>
                  <a:cubicBezTo>
                    <a:pt x="277" y="5972"/>
                    <a:pt x="269" y="5972"/>
                    <a:pt x="247" y="5972"/>
                  </a:cubicBezTo>
                  <a:cubicBezTo>
                    <a:pt x="254" y="5979"/>
                    <a:pt x="262" y="5987"/>
                    <a:pt x="262" y="5994"/>
                  </a:cubicBezTo>
                  <a:cubicBezTo>
                    <a:pt x="262" y="6024"/>
                    <a:pt x="262" y="6024"/>
                    <a:pt x="262" y="6024"/>
                  </a:cubicBezTo>
                  <a:cubicBezTo>
                    <a:pt x="232" y="6024"/>
                    <a:pt x="217" y="6024"/>
                    <a:pt x="194" y="6032"/>
                  </a:cubicBezTo>
                  <a:cubicBezTo>
                    <a:pt x="180" y="6039"/>
                    <a:pt x="164" y="6047"/>
                    <a:pt x="142" y="6054"/>
                  </a:cubicBezTo>
                  <a:cubicBezTo>
                    <a:pt x="120" y="6054"/>
                    <a:pt x="104" y="6054"/>
                    <a:pt x="82" y="6054"/>
                  </a:cubicBezTo>
                  <a:cubicBezTo>
                    <a:pt x="60" y="6062"/>
                    <a:pt x="37" y="6054"/>
                    <a:pt x="37" y="6077"/>
                  </a:cubicBezTo>
                  <a:cubicBezTo>
                    <a:pt x="37" y="6084"/>
                    <a:pt x="45" y="6084"/>
                    <a:pt x="45" y="6092"/>
                  </a:cubicBezTo>
                  <a:cubicBezTo>
                    <a:pt x="45" y="6107"/>
                    <a:pt x="45" y="6122"/>
                    <a:pt x="37" y="6122"/>
                  </a:cubicBezTo>
                  <a:cubicBezTo>
                    <a:pt x="52" y="6129"/>
                    <a:pt x="67" y="6129"/>
                    <a:pt x="67" y="6144"/>
                  </a:cubicBezTo>
                  <a:cubicBezTo>
                    <a:pt x="67" y="6152"/>
                    <a:pt x="60" y="6167"/>
                    <a:pt x="60" y="6182"/>
                  </a:cubicBezTo>
                  <a:cubicBezTo>
                    <a:pt x="52" y="6204"/>
                    <a:pt x="45" y="6227"/>
                    <a:pt x="45" y="6257"/>
                  </a:cubicBezTo>
                  <a:cubicBezTo>
                    <a:pt x="37" y="6294"/>
                    <a:pt x="0" y="6309"/>
                    <a:pt x="0" y="6354"/>
                  </a:cubicBezTo>
                  <a:cubicBezTo>
                    <a:pt x="0" y="6362"/>
                    <a:pt x="7" y="6362"/>
                    <a:pt x="7" y="6369"/>
                  </a:cubicBezTo>
                  <a:cubicBezTo>
                    <a:pt x="7" y="6377"/>
                    <a:pt x="7" y="6392"/>
                    <a:pt x="7" y="6407"/>
                  </a:cubicBezTo>
                  <a:cubicBezTo>
                    <a:pt x="30" y="6407"/>
                    <a:pt x="52" y="6399"/>
                    <a:pt x="67" y="6414"/>
                  </a:cubicBezTo>
                  <a:cubicBezTo>
                    <a:pt x="82" y="6429"/>
                    <a:pt x="75" y="6444"/>
                    <a:pt x="75" y="6467"/>
                  </a:cubicBezTo>
                  <a:cubicBezTo>
                    <a:pt x="75" y="6482"/>
                    <a:pt x="75" y="6489"/>
                    <a:pt x="75" y="6504"/>
                  </a:cubicBezTo>
                  <a:cubicBezTo>
                    <a:pt x="75" y="6504"/>
                    <a:pt x="60" y="6504"/>
                    <a:pt x="60" y="6512"/>
                  </a:cubicBezTo>
                  <a:lnTo>
                    <a:pt x="60" y="6519"/>
                  </a:lnTo>
                  <a:cubicBezTo>
                    <a:pt x="60" y="6542"/>
                    <a:pt x="67" y="6556"/>
                    <a:pt x="67" y="6572"/>
                  </a:cubicBezTo>
                  <a:cubicBezTo>
                    <a:pt x="75" y="6579"/>
                    <a:pt x="67" y="6586"/>
                    <a:pt x="75" y="6602"/>
                  </a:cubicBezTo>
                  <a:cubicBezTo>
                    <a:pt x="82" y="6616"/>
                    <a:pt x="97" y="6616"/>
                    <a:pt x="97" y="6639"/>
                  </a:cubicBezTo>
                  <a:cubicBezTo>
                    <a:pt x="97" y="6654"/>
                    <a:pt x="90" y="6661"/>
                    <a:pt x="82" y="6676"/>
                  </a:cubicBezTo>
                  <a:cubicBezTo>
                    <a:pt x="75" y="6691"/>
                    <a:pt x="82" y="6706"/>
                    <a:pt x="82" y="6721"/>
                  </a:cubicBezTo>
                  <a:cubicBezTo>
                    <a:pt x="82" y="6736"/>
                    <a:pt x="75" y="6736"/>
                    <a:pt x="75" y="6751"/>
                  </a:cubicBezTo>
                  <a:cubicBezTo>
                    <a:pt x="67" y="6759"/>
                    <a:pt x="75" y="6774"/>
                    <a:pt x="67" y="6789"/>
                  </a:cubicBezTo>
                  <a:lnTo>
                    <a:pt x="67" y="6789"/>
                  </a:lnTo>
                  <a:cubicBezTo>
                    <a:pt x="90" y="6789"/>
                    <a:pt x="104" y="6774"/>
                    <a:pt x="120" y="6774"/>
                  </a:cubicBezTo>
                  <a:cubicBezTo>
                    <a:pt x="134" y="6781"/>
                    <a:pt x="142" y="6796"/>
                    <a:pt x="157" y="6796"/>
                  </a:cubicBezTo>
                  <a:cubicBezTo>
                    <a:pt x="187" y="6811"/>
                    <a:pt x="217" y="6796"/>
                    <a:pt x="247" y="6811"/>
                  </a:cubicBezTo>
                  <a:lnTo>
                    <a:pt x="247" y="6811"/>
                  </a:lnTo>
                  <a:cubicBezTo>
                    <a:pt x="284" y="6789"/>
                    <a:pt x="299" y="6766"/>
                    <a:pt x="337" y="6736"/>
                  </a:cubicBezTo>
                  <a:cubicBezTo>
                    <a:pt x="359" y="6744"/>
                    <a:pt x="359" y="6744"/>
                    <a:pt x="359" y="6744"/>
                  </a:cubicBezTo>
                  <a:cubicBezTo>
                    <a:pt x="382" y="6736"/>
                    <a:pt x="389" y="6721"/>
                    <a:pt x="412" y="6714"/>
                  </a:cubicBezTo>
                  <a:cubicBezTo>
                    <a:pt x="419" y="6706"/>
                    <a:pt x="427" y="6706"/>
                    <a:pt x="434" y="6699"/>
                  </a:cubicBezTo>
                  <a:cubicBezTo>
                    <a:pt x="442" y="6691"/>
                    <a:pt x="442" y="6684"/>
                    <a:pt x="449" y="6676"/>
                  </a:cubicBezTo>
                  <a:cubicBezTo>
                    <a:pt x="464" y="6669"/>
                    <a:pt x="479" y="6684"/>
                    <a:pt x="487" y="6676"/>
                  </a:cubicBezTo>
                  <a:cubicBezTo>
                    <a:pt x="494" y="6676"/>
                    <a:pt x="494" y="6669"/>
                    <a:pt x="502" y="6669"/>
                  </a:cubicBezTo>
                  <a:cubicBezTo>
                    <a:pt x="509" y="6654"/>
                    <a:pt x="517" y="6646"/>
                    <a:pt x="532" y="6639"/>
                  </a:cubicBezTo>
                  <a:cubicBezTo>
                    <a:pt x="547" y="6624"/>
                    <a:pt x="554" y="6616"/>
                    <a:pt x="569" y="6616"/>
                  </a:cubicBezTo>
                  <a:cubicBezTo>
                    <a:pt x="584" y="6609"/>
                    <a:pt x="592" y="6616"/>
                    <a:pt x="607" y="6609"/>
                  </a:cubicBezTo>
                  <a:cubicBezTo>
                    <a:pt x="622" y="6609"/>
                    <a:pt x="629" y="6602"/>
                    <a:pt x="644" y="6594"/>
                  </a:cubicBezTo>
                  <a:cubicBezTo>
                    <a:pt x="674" y="6586"/>
                    <a:pt x="689" y="6586"/>
                    <a:pt x="719" y="6579"/>
                  </a:cubicBezTo>
                  <a:cubicBezTo>
                    <a:pt x="719" y="6549"/>
                    <a:pt x="719" y="6519"/>
                    <a:pt x="749" y="6504"/>
                  </a:cubicBezTo>
                  <a:cubicBezTo>
                    <a:pt x="779" y="6474"/>
                    <a:pt x="809" y="6467"/>
                    <a:pt x="846" y="6467"/>
                  </a:cubicBezTo>
                  <a:cubicBezTo>
                    <a:pt x="899" y="6467"/>
                    <a:pt x="929" y="6496"/>
                    <a:pt x="981" y="6504"/>
                  </a:cubicBezTo>
                  <a:cubicBezTo>
                    <a:pt x="1019" y="6512"/>
                    <a:pt x="1041" y="6512"/>
                    <a:pt x="1071" y="6526"/>
                  </a:cubicBezTo>
                  <a:cubicBezTo>
                    <a:pt x="1086" y="6534"/>
                    <a:pt x="1101" y="6542"/>
                    <a:pt x="1109" y="6556"/>
                  </a:cubicBezTo>
                  <a:cubicBezTo>
                    <a:pt x="1116" y="6556"/>
                    <a:pt x="1116" y="6564"/>
                    <a:pt x="1116" y="6564"/>
                  </a:cubicBezTo>
                  <a:cubicBezTo>
                    <a:pt x="1131" y="6586"/>
                    <a:pt x="1146" y="6594"/>
                    <a:pt x="1154" y="6616"/>
                  </a:cubicBezTo>
                  <a:cubicBezTo>
                    <a:pt x="1161" y="6624"/>
                    <a:pt x="1161" y="6639"/>
                    <a:pt x="1169" y="6639"/>
                  </a:cubicBezTo>
                  <a:cubicBezTo>
                    <a:pt x="1176" y="6654"/>
                    <a:pt x="1191" y="6639"/>
                    <a:pt x="1206" y="6646"/>
                  </a:cubicBezTo>
                  <a:cubicBezTo>
                    <a:pt x="1214" y="6654"/>
                    <a:pt x="1214" y="6661"/>
                    <a:pt x="1214" y="6676"/>
                  </a:cubicBezTo>
                  <a:cubicBezTo>
                    <a:pt x="1229" y="6721"/>
                    <a:pt x="1214" y="6751"/>
                    <a:pt x="1229" y="6796"/>
                  </a:cubicBezTo>
                  <a:lnTo>
                    <a:pt x="1229" y="6796"/>
                  </a:lnTo>
                  <a:cubicBezTo>
                    <a:pt x="1244" y="6796"/>
                    <a:pt x="1266" y="6796"/>
                    <a:pt x="1281" y="6811"/>
                  </a:cubicBezTo>
                  <a:cubicBezTo>
                    <a:pt x="1304" y="6819"/>
                    <a:pt x="1296" y="6849"/>
                    <a:pt x="1319" y="6856"/>
                  </a:cubicBezTo>
                  <a:cubicBezTo>
                    <a:pt x="1334" y="6864"/>
                    <a:pt x="1341" y="6864"/>
                    <a:pt x="1363" y="6864"/>
                  </a:cubicBezTo>
                  <a:cubicBezTo>
                    <a:pt x="1363" y="6886"/>
                    <a:pt x="1356" y="6909"/>
                    <a:pt x="1379" y="6924"/>
                  </a:cubicBezTo>
                  <a:cubicBezTo>
                    <a:pt x="1393" y="6939"/>
                    <a:pt x="1409" y="6931"/>
                    <a:pt x="1423" y="6946"/>
                  </a:cubicBezTo>
                  <a:cubicBezTo>
                    <a:pt x="1446" y="6961"/>
                    <a:pt x="1453" y="6976"/>
                    <a:pt x="1476" y="6976"/>
                  </a:cubicBezTo>
                  <a:cubicBezTo>
                    <a:pt x="1491" y="6976"/>
                    <a:pt x="1499" y="6961"/>
                    <a:pt x="1513" y="6954"/>
                  </a:cubicBezTo>
                  <a:cubicBezTo>
                    <a:pt x="1528" y="6939"/>
                    <a:pt x="1536" y="6924"/>
                    <a:pt x="1558" y="6909"/>
                  </a:cubicBezTo>
                  <a:cubicBezTo>
                    <a:pt x="1566" y="6901"/>
                    <a:pt x="1581" y="6894"/>
                    <a:pt x="1588" y="6879"/>
                  </a:cubicBezTo>
                  <a:cubicBezTo>
                    <a:pt x="1596" y="6871"/>
                    <a:pt x="1603" y="6864"/>
                    <a:pt x="1603" y="6856"/>
                  </a:cubicBezTo>
                  <a:cubicBezTo>
                    <a:pt x="1603" y="6841"/>
                    <a:pt x="1588" y="6834"/>
                    <a:pt x="1588" y="6819"/>
                  </a:cubicBezTo>
                  <a:cubicBezTo>
                    <a:pt x="1581" y="6796"/>
                    <a:pt x="1581" y="6789"/>
                    <a:pt x="1581" y="6766"/>
                  </a:cubicBezTo>
                  <a:cubicBezTo>
                    <a:pt x="1596" y="6774"/>
                    <a:pt x="1603" y="6781"/>
                    <a:pt x="1611" y="6789"/>
                  </a:cubicBezTo>
                  <a:cubicBezTo>
                    <a:pt x="1618" y="6804"/>
                    <a:pt x="1618" y="6819"/>
                    <a:pt x="1633" y="6826"/>
                  </a:cubicBezTo>
                  <a:cubicBezTo>
                    <a:pt x="1663" y="6849"/>
                    <a:pt x="1686" y="6849"/>
                    <a:pt x="1716" y="6856"/>
                  </a:cubicBezTo>
                  <a:cubicBezTo>
                    <a:pt x="1746" y="6864"/>
                    <a:pt x="1768" y="6864"/>
                    <a:pt x="1791" y="6871"/>
                  </a:cubicBezTo>
                  <a:cubicBezTo>
                    <a:pt x="1821" y="6879"/>
                    <a:pt x="1828" y="6894"/>
                    <a:pt x="1851" y="6909"/>
                  </a:cubicBezTo>
                  <a:lnTo>
                    <a:pt x="1851" y="6909"/>
                  </a:lnTo>
                  <a:cubicBezTo>
                    <a:pt x="1851" y="6901"/>
                    <a:pt x="1851" y="6894"/>
                    <a:pt x="1858" y="6886"/>
                  </a:cubicBezTo>
                  <a:cubicBezTo>
                    <a:pt x="1858" y="6864"/>
                    <a:pt x="1858" y="6849"/>
                    <a:pt x="1866" y="6819"/>
                  </a:cubicBezTo>
                  <a:cubicBezTo>
                    <a:pt x="1896" y="6819"/>
                    <a:pt x="1911" y="6811"/>
                    <a:pt x="1941" y="6811"/>
                  </a:cubicBezTo>
                  <a:cubicBezTo>
                    <a:pt x="1948" y="6804"/>
                    <a:pt x="1948" y="6789"/>
                    <a:pt x="1956" y="6781"/>
                  </a:cubicBezTo>
                  <a:cubicBezTo>
                    <a:pt x="1963" y="6774"/>
                    <a:pt x="1971" y="6774"/>
                    <a:pt x="1986" y="6766"/>
                  </a:cubicBezTo>
                  <a:cubicBezTo>
                    <a:pt x="2001" y="6759"/>
                    <a:pt x="2008" y="6751"/>
                    <a:pt x="2023" y="6744"/>
                  </a:cubicBezTo>
                  <a:cubicBezTo>
                    <a:pt x="2031" y="6729"/>
                    <a:pt x="2038" y="6721"/>
                    <a:pt x="2046" y="6706"/>
                  </a:cubicBezTo>
                  <a:cubicBezTo>
                    <a:pt x="2053" y="6691"/>
                    <a:pt x="2053" y="6684"/>
                    <a:pt x="2061" y="6669"/>
                  </a:cubicBezTo>
                  <a:cubicBezTo>
                    <a:pt x="2061" y="6639"/>
                    <a:pt x="2061" y="6616"/>
                    <a:pt x="2068" y="6586"/>
                  </a:cubicBezTo>
                  <a:cubicBezTo>
                    <a:pt x="2068" y="6579"/>
                    <a:pt x="2083" y="6572"/>
                    <a:pt x="2083" y="6564"/>
                  </a:cubicBezTo>
                  <a:cubicBezTo>
                    <a:pt x="2091" y="6549"/>
                    <a:pt x="2091" y="6534"/>
                    <a:pt x="2091" y="6512"/>
                  </a:cubicBezTo>
                  <a:cubicBezTo>
                    <a:pt x="2091" y="6482"/>
                    <a:pt x="2105" y="6459"/>
                    <a:pt x="2105" y="6429"/>
                  </a:cubicBezTo>
                  <a:cubicBezTo>
                    <a:pt x="2105" y="6272"/>
                    <a:pt x="2105" y="6272"/>
                    <a:pt x="2105" y="6272"/>
                  </a:cubicBezTo>
                  <a:cubicBezTo>
                    <a:pt x="2105" y="6242"/>
                    <a:pt x="2113" y="6219"/>
                    <a:pt x="2113" y="6189"/>
                  </a:cubicBezTo>
                  <a:cubicBezTo>
                    <a:pt x="2113" y="6182"/>
                    <a:pt x="2121" y="6182"/>
                    <a:pt x="2121" y="6174"/>
                  </a:cubicBezTo>
                  <a:cubicBezTo>
                    <a:pt x="2121" y="6159"/>
                    <a:pt x="2105" y="6152"/>
                    <a:pt x="2105" y="6137"/>
                  </a:cubicBezTo>
                  <a:cubicBezTo>
                    <a:pt x="2105" y="6129"/>
                    <a:pt x="2113" y="6129"/>
                    <a:pt x="2113" y="6122"/>
                  </a:cubicBezTo>
                  <a:cubicBezTo>
                    <a:pt x="2113" y="6114"/>
                    <a:pt x="2113" y="6107"/>
                    <a:pt x="2113" y="6099"/>
                  </a:cubicBezTo>
                  <a:cubicBezTo>
                    <a:pt x="2113" y="6069"/>
                    <a:pt x="2113" y="6047"/>
                    <a:pt x="2113" y="6024"/>
                  </a:cubicBezTo>
                  <a:cubicBezTo>
                    <a:pt x="2113" y="5957"/>
                    <a:pt x="2105" y="5920"/>
                    <a:pt x="2091" y="5860"/>
                  </a:cubicBezTo>
                  <a:cubicBezTo>
                    <a:pt x="2075" y="5762"/>
                    <a:pt x="2075" y="5710"/>
                    <a:pt x="2061" y="5620"/>
                  </a:cubicBezTo>
                  <a:cubicBezTo>
                    <a:pt x="2046" y="5552"/>
                    <a:pt x="2031" y="5515"/>
                    <a:pt x="2008" y="5455"/>
                  </a:cubicBezTo>
                  <a:cubicBezTo>
                    <a:pt x="1986" y="5395"/>
                    <a:pt x="1986" y="5357"/>
                    <a:pt x="1978" y="5290"/>
                  </a:cubicBezTo>
                  <a:cubicBezTo>
                    <a:pt x="1978" y="5260"/>
                    <a:pt x="1971" y="5245"/>
                    <a:pt x="1971" y="5208"/>
                  </a:cubicBezTo>
                  <a:cubicBezTo>
                    <a:pt x="1971" y="5155"/>
                    <a:pt x="1978" y="5118"/>
                    <a:pt x="1993" y="5065"/>
                  </a:cubicBezTo>
                  <a:cubicBezTo>
                    <a:pt x="2023" y="4983"/>
                    <a:pt x="2046" y="4938"/>
                    <a:pt x="2105" y="4870"/>
                  </a:cubicBezTo>
                  <a:cubicBezTo>
                    <a:pt x="2121" y="4849"/>
                    <a:pt x="2143" y="4849"/>
                    <a:pt x="2165" y="4826"/>
                  </a:cubicBezTo>
                  <a:cubicBezTo>
                    <a:pt x="2165" y="4819"/>
                    <a:pt x="2165" y="4811"/>
                    <a:pt x="2165" y="4804"/>
                  </a:cubicBezTo>
                  <a:cubicBezTo>
                    <a:pt x="2165" y="4789"/>
                    <a:pt x="2158" y="4781"/>
                    <a:pt x="2151" y="4774"/>
                  </a:cubicBezTo>
                  <a:cubicBezTo>
                    <a:pt x="2143" y="4766"/>
                    <a:pt x="2151" y="4759"/>
                    <a:pt x="2143" y="4759"/>
                  </a:cubicBezTo>
                  <a:cubicBezTo>
                    <a:pt x="2135" y="4759"/>
                    <a:pt x="2128" y="4759"/>
                    <a:pt x="2121" y="4751"/>
                  </a:cubicBezTo>
                  <a:cubicBezTo>
                    <a:pt x="2128" y="4729"/>
                    <a:pt x="2158" y="4714"/>
                    <a:pt x="2188" y="4714"/>
                  </a:cubicBezTo>
                  <a:cubicBezTo>
                    <a:pt x="2225" y="4714"/>
                    <a:pt x="2240" y="4729"/>
                    <a:pt x="2278" y="4751"/>
                  </a:cubicBezTo>
                  <a:cubicBezTo>
                    <a:pt x="2278" y="4729"/>
                    <a:pt x="2285" y="4714"/>
                    <a:pt x="2293" y="4699"/>
                  </a:cubicBezTo>
                  <a:cubicBezTo>
                    <a:pt x="2300" y="4692"/>
                    <a:pt x="2308" y="4684"/>
                    <a:pt x="2315" y="4676"/>
                  </a:cubicBezTo>
                  <a:cubicBezTo>
                    <a:pt x="2338" y="4676"/>
                    <a:pt x="2353" y="4684"/>
                    <a:pt x="2368" y="4684"/>
                  </a:cubicBezTo>
                  <a:cubicBezTo>
                    <a:pt x="2420" y="4684"/>
                    <a:pt x="2443" y="4669"/>
                    <a:pt x="2495" y="4669"/>
                  </a:cubicBezTo>
                  <a:cubicBezTo>
                    <a:pt x="2503" y="4669"/>
                    <a:pt x="2510" y="4669"/>
                    <a:pt x="2510" y="4676"/>
                  </a:cubicBezTo>
                  <a:cubicBezTo>
                    <a:pt x="2518" y="4692"/>
                    <a:pt x="2518" y="4706"/>
                    <a:pt x="2525" y="4706"/>
                  </a:cubicBezTo>
                  <a:cubicBezTo>
                    <a:pt x="2540" y="4706"/>
                    <a:pt x="2540" y="4692"/>
                    <a:pt x="2555" y="4692"/>
                  </a:cubicBezTo>
                  <a:cubicBezTo>
                    <a:pt x="2555" y="4692"/>
                    <a:pt x="2563" y="4699"/>
                    <a:pt x="2570" y="4699"/>
                  </a:cubicBezTo>
                  <a:cubicBezTo>
                    <a:pt x="2570" y="4714"/>
                    <a:pt x="2555" y="4721"/>
                    <a:pt x="2570" y="4736"/>
                  </a:cubicBezTo>
                  <a:cubicBezTo>
                    <a:pt x="2570" y="4744"/>
                    <a:pt x="2578" y="4751"/>
                    <a:pt x="2585" y="4759"/>
                  </a:cubicBezTo>
                  <a:cubicBezTo>
                    <a:pt x="2615" y="4789"/>
                    <a:pt x="2630" y="4819"/>
                    <a:pt x="2668" y="4834"/>
                  </a:cubicBezTo>
                  <a:cubicBezTo>
                    <a:pt x="2675" y="4826"/>
                    <a:pt x="2675" y="4819"/>
                    <a:pt x="2675" y="4811"/>
                  </a:cubicBezTo>
                  <a:cubicBezTo>
                    <a:pt x="2675" y="4789"/>
                    <a:pt x="2660" y="4774"/>
                    <a:pt x="2660" y="4751"/>
                  </a:cubicBezTo>
                  <a:cubicBezTo>
                    <a:pt x="2660" y="4736"/>
                    <a:pt x="2668" y="4721"/>
                    <a:pt x="2660" y="4714"/>
                  </a:cubicBezTo>
                  <a:cubicBezTo>
                    <a:pt x="2652" y="4692"/>
                    <a:pt x="2638" y="4692"/>
                    <a:pt x="2630" y="4676"/>
                  </a:cubicBezTo>
                  <a:cubicBezTo>
                    <a:pt x="2630" y="4616"/>
                    <a:pt x="2630" y="4616"/>
                    <a:pt x="2630" y="4616"/>
                  </a:cubicBezTo>
                  <a:cubicBezTo>
                    <a:pt x="2652" y="4579"/>
                    <a:pt x="2652" y="4579"/>
                    <a:pt x="2652" y="4579"/>
                  </a:cubicBezTo>
                  <a:cubicBezTo>
                    <a:pt x="2652" y="4572"/>
                    <a:pt x="2645" y="4564"/>
                    <a:pt x="2645" y="4549"/>
                  </a:cubicBezTo>
                  <a:cubicBezTo>
                    <a:pt x="2652" y="4549"/>
                    <a:pt x="2660" y="4557"/>
                    <a:pt x="2668" y="4549"/>
                  </a:cubicBezTo>
                  <a:cubicBezTo>
                    <a:pt x="2675" y="4542"/>
                    <a:pt x="2668" y="4534"/>
                    <a:pt x="2668" y="4519"/>
                  </a:cubicBezTo>
                  <a:cubicBezTo>
                    <a:pt x="2668" y="4512"/>
                    <a:pt x="2668" y="4497"/>
                    <a:pt x="2660" y="4489"/>
                  </a:cubicBezTo>
                  <a:cubicBezTo>
                    <a:pt x="2645" y="4489"/>
                    <a:pt x="2638" y="4489"/>
                    <a:pt x="2623" y="4489"/>
                  </a:cubicBezTo>
                  <a:cubicBezTo>
                    <a:pt x="2623" y="4452"/>
                    <a:pt x="2623" y="4452"/>
                    <a:pt x="2623" y="4452"/>
                  </a:cubicBezTo>
                  <a:cubicBezTo>
                    <a:pt x="2615" y="4452"/>
                    <a:pt x="2608" y="4452"/>
                    <a:pt x="2600" y="4444"/>
                  </a:cubicBezTo>
                  <a:cubicBezTo>
                    <a:pt x="2608" y="4422"/>
                    <a:pt x="2623" y="4414"/>
                    <a:pt x="2638" y="4399"/>
                  </a:cubicBezTo>
                  <a:cubicBezTo>
                    <a:pt x="2638" y="4392"/>
                    <a:pt x="2645" y="4392"/>
                    <a:pt x="2645" y="4384"/>
                  </a:cubicBezTo>
                  <a:cubicBezTo>
                    <a:pt x="2645" y="4377"/>
                    <a:pt x="2660" y="4384"/>
                    <a:pt x="2660" y="4377"/>
                  </a:cubicBezTo>
                  <a:cubicBezTo>
                    <a:pt x="2660" y="4347"/>
                    <a:pt x="2645" y="4324"/>
                    <a:pt x="2615" y="4324"/>
                  </a:cubicBezTo>
                  <a:cubicBezTo>
                    <a:pt x="2608" y="4324"/>
                    <a:pt x="2600" y="4324"/>
                    <a:pt x="2593" y="4324"/>
                  </a:cubicBezTo>
                  <a:cubicBezTo>
                    <a:pt x="2593" y="4317"/>
                    <a:pt x="2585" y="4317"/>
                    <a:pt x="2585" y="4309"/>
                  </a:cubicBezTo>
                  <a:cubicBezTo>
                    <a:pt x="2585" y="4287"/>
                    <a:pt x="2608" y="4287"/>
                    <a:pt x="2623" y="4272"/>
                  </a:cubicBezTo>
                  <a:cubicBezTo>
                    <a:pt x="2645" y="4257"/>
                    <a:pt x="2652" y="4242"/>
                    <a:pt x="2668" y="4227"/>
                  </a:cubicBezTo>
                  <a:cubicBezTo>
                    <a:pt x="2682" y="4212"/>
                    <a:pt x="2698" y="4197"/>
                    <a:pt x="2698" y="4174"/>
                  </a:cubicBezTo>
                  <a:cubicBezTo>
                    <a:pt x="2698" y="4159"/>
                    <a:pt x="2682" y="4144"/>
                    <a:pt x="2668" y="4137"/>
                  </a:cubicBezTo>
                  <a:cubicBezTo>
                    <a:pt x="2675" y="4114"/>
                    <a:pt x="2690" y="4099"/>
                    <a:pt x="2705" y="4077"/>
                  </a:cubicBezTo>
                  <a:cubicBezTo>
                    <a:pt x="2712" y="4069"/>
                    <a:pt x="2720" y="4062"/>
                    <a:pt x="2720" y="4055"/>
                  </a:cubicBezTo>
                  <a:cubicBezTo>
                    <a:pt x="2728" y="4047"/>
                    <a:pt x="2735" y="4047"/>
                    <a:pt x="2735" y="4047"/>
                  </a:cubicBezTo>
                  <a:cubicBezTo>
                    <a:pt x="2750" y="4032"/>
                    <a:pt x="2750" y="4017"/>
                    <a:pt x="2750" y="4002"/>
                  </a:cubicBezTo>
                  <a:cubicBezTo>
                    <a:pt x="2750" y="3980"/>
                    <a:pt x="2742" y="3972"/>
                    <a:pt x="2742" y="3950"/>
                  </a:cubicBezTo>
                  <a:cubicBezTo>
                    <a:pt x="2758" y="3957"/>
                    <a:pt x="2758" y="3957"/>
                    <a:pt x="2758" y="3957"/>
                  </a:cubicBezTo>
                  <a:cubicBezTo>
                    <a:pt x="2765" y="3980"/>
                    <a:pt x="2765" y="4002"/>
                    <a:pt x="2780" y="4017"/>
                  </a:cubicBezTo>
                  <a:cubicBezTo>
                    <a:pt x="2787" y="4002"/>
                    <a:pt x="2787" y="3995"/>
                    <a:pt x="2795" y="3980"/>
                  </a:cubicBezTo>
                  <a:cubicBezTo>
                    <a:pt x="2802" y="3987"/>
                    <a:pt x="2802" y="3995"/>
                    <a:pt x="2817" y="3995"/>
                  </a:cubicBezTo>
                  <a:cubicBezTo>
                    <a:pt x="2817" y="3942"/>
                    <a:pt x="2817" y="3942"/>
                    <a:pt x="2817" y="3942"/>
                  </a:cubicBezTo>
                  <a:cubicBezTo>
                    <a:pt x="2817" y="3935"/>
                    <a:pt x="2802" y="3927"/>
                    <a:pt x="2802" y="3912"/>
                  </a:cubicBezTo>
                  <a:cubicBezTo>
                    <a:pt x="2802" y="3897"/>
                    <a:pt x="2817" y="3882"/>
                    <a:pt x="2817" y="3867"/>
                  </a:cubicBezTo>
                  <a:cubicBezTo>
                    <a:pt x="2817" y="3837"/>
                    <a:pt x="2795" y="3830"/>
                    <a:pt x="2787" y="3800"/>
                  </a:cubicBezTo>
                  <a:cubicBezTo>
                    <a:pt x="2810" y="3800"/>
                    <a:pt x="2825" y="3800"/>
                    <a:pt x="2847" y="3800"/>
                  </a:cubicBezTo>
                  <a:cubicBezTo>
                    <a:pt x="2855" y="3830"/>
                    <a:pt x="2855" y="3852"/>
                    <a:pt x="2870" y="3875"/>
                  </a:cubicBezTo>
                  <a:cubicBezTo>
                    <a:pt x="2885" y="3875"/>
                    <a:pt x="2885" y="3875"/>
                    <a:pt x="2885" y="3875"/>
                  </a:cubicBezTo>
                  <a:cubicBezTo>
                    <a:pt x="2892" y="3852"/>
                    <a:pt x="2885" y="3837"/>
                    <a:pt x="2892" y="3822"/>
                  </a:cubicBezTo>
                  <a:cubicBezTo>
                    <a:pt x="2900" y="3815"/>
                    <a:pt x="2915" y="3807"/>
                    <a:pt x="2915" y="3800"/>
                  </a:cubicBezTo>
                  <a:cubicBezTo>
                    <a:pt x="2915" y="3785"/>
                    <a:pt x="2900" y="3777"/>
                    <a:pt x="2900" y="3762"/>
                  </a:cubicBezTo>
                  <a:cubicBezTo>
                    <a:pt x="2900" y="3747"/>
                    <a:pt x="2915" y="3755"/>
                    <a:pt x="2922" y="3740"/>
                  </a:cubicBezTo>
                  <a:cubicBezTo>
                    <a:pt x="2945" y="3695"/>
                    <a:pt x="2900" y="3755"/>
                    <a:pt x="2952" y="3755"/>
                  </a:cubicBezTo>
                  <a:cubicBezTo>
                    <a:pt x="2975" y="3755"/>
                    <a:pt x="2982" y="3740"/>
                    <a:pt x="2997" y="3740"/>
                  </a:cubicBezTo>
                  <a:cubicBezTo>
                    <a:pt x="3027" y="3740"/>
                    <a:pt x="3027" y="3740"/>
                    <a:pt x="3027" y="3740"/>
                  </a:cubicBezTo>
                  <a:cubicBezTo>
                    <a:pt x="3035" y="3740"/>
                    <a:pt x="3035" y="3740"/>
                    <a:pt x="3035" y="3740"/>
                  </a:cubicBezTo>
                  <a:cubicBezTo>
                    <a:pt x="3027" y="3717"/>
                    <a:pt x="3027" y="3717"/>
                    <a:pt x="3027" y="3717"/>
                  </a:cubicBezTo>
                  <a:cubicBezTo>
                    <a:pt x="3035" y="3710"/>
                    <a:pt x="3042" y="3717"/>
                    <a:pt x="3042" y="3717"/>
                  </a:cubicBezTo>
                  <a:cubicBezTo>
                    <a:pt x="3050" y="3710"/>
                    <a:pt x="3042" y="3702"/>
                    <a:pt x="3050" y="3702"/>
                  </a:cubicBezTo>
                  <a:cubicBezTo>
                    <a:pt x="3027" y="3680"/>
                    <a:pt x="3012" y="3672"/>
                    <a:pt x="3012" y="3642"/>
                  </a:cubicBezTo>
                  <a:cubicBezTo>
                    <a:pt x="3012" y="3635"/>
                    <a:pt x="3012" y="3627"/>
                    <a:pt x="3020" y="3620"/>
                  </a:cubicBezTo>
                  <a:cubicBezTo>
                    <a:pt x="3035" y="3627"/>
                    <a:pt x="3042" y="3635"/>
                    <a:pt x="3050" y="3642"/>
                  </a:cubicBezTo>
                  <a:cubicBezTo>
                    <a:pt x="3057" y="3650"/>
                    <a:pt x="3057" y="3665"/>
                    <a:pt x="3072" y="3665"/>
                  </a:cubicBezTo>
                  <a:cubicBezTo>
                    <a:pt x="3080" y="3665"/>
                    <a:pt x="3080" y="3665"/>
                    <a:pt x="3087" y="3665"/>
                  </a:cubicBezTo>
                  <a:cubicBezTo>
                    <a:pt x="3087" y="3650"/>
                    <a:pt x="3095" y="3642"/>
                    <a:pt x="3095" y="3635"/>
                  </a:cubicBezTo>
                  <a:cubicBezTo>
                    <a:pt x="3095" y="3605"/>
                    <a:pt x="3065" y="3590"/>
                    <a:pt x="3035" y="3575"/>
                  </a:cubicBezTo>
                  <a:cubicBezTo>
                    <a:pt x="3042" y="3567"/>
                    <a:pt x="3042" y="3560"/>
                    <a:pt x="3042" y="3560"/>
                  </a:cubicBezTo>
                  <a:cubicBezTo>
                    <a:pt x="3072" y="3560"/>
                    <a:pt x="3110" y="3552"/>
                    <a:pt x="3110" y="3522"/>
                  </a:cubicBezTo>
                  <a:cubicBezTo>
                    <a:pt x="3110" y="3515"/>
                    <a:pt x="3110" y="3515"/>
                    <a:pt x="3102" y="3507"/>
                  </a:cubicBezTo>
                  <a:cubicBezTo>
                    <a:pt x="3095" y="3507"/>
                    <a:pt x="3050" y="3500"/>
                    <a:pt x="3080" y="3507"/>
                  </a:cubicBezTo>
                  <a:cubicBezTo>
                    <a:pt x="3095" y="3492"/>
                    <a:pt x="3102" y="3477"/>
                    <a:pt x="3117" y="3470"/>
                  </a:cubicBezTo>
                  <a:cubicBezTo>
                    <a:pt x="3125" y="3470"/>
                    <a:pt x="3125" y="3470"/>
                    <a:pt x="3132" y="3470"/>
                  </a:cubicBezTo>
                  <a:cubicBezTo>
                    <a:pt x="3140" y="3463"/>
                    <a:pt x="3147" y="3447"/>
                    <a:pt x="3155" y="3433"/>
                  </a:cubicBezTo>
                  <a:cubicBezTo>
                    <a:pt x="3140" y="3433"/>
                    <a:pt x="3140" y="3433"/>
                    <a:pt x="3125" y="3433"/>
                  </a:cubicBezTo>
                  <a:lnTo>
                    <a:pt x="3117" y="3440"/>
                  </a:lnTo>
                  <a:cubicBezTo>
                    <a:pt x="3110" y="3440"/>
                    <a:pt x="3095" y="3440"/>
                    <a:pt x="3095" y="3433"/>
                  </a:cubicBezTo>
                  <a:lnTo>
                    <a:pt x="3102" y="3425"/>
                  </a:lnTo>
                  <a:cubicBezTo>
                    <a:pt x="3102" y="3417"/>
                    <a:pt x="3102" y="3410"/>
                    <a:pt x="3095" y="3395"/>
                  </a:cubicBezTo>
                  <a:cubicBezTo>
                    <a:pt x="3110" y="3395"/>
                    <a:pt x="3110" y="3395"/>
                    <a:pt x="3117" y="3387"/>
                  </a:cubicBezTo>
                  <a:cubicBezTo>
                    <a:pt x="3117" y="3387"/>
                    <a:pt x="3117" y="3380"/>
                    <a:pt x="3117" y="3373"/>
                  </a:cubicBezTo>
                  <a:cubicBezTo>
                    <a:pt x="3110" y="3373"/>
                    <a:pt x="3102" y="3373"/>
                    <a:pt x="3102" y="3365"/>
                  </a:cubicBezTo>
                  <a:cubicBezTo>
                    <a:pt x="3102" y="3357"/>
                    <a:pt x="3110" y="3357"/>
                    <a:pt x="3110" y="3357"/>
                  </a:cubicBezTo>
                  <a:cubicBezTo>
                    <a:pt x="3147" y="3343"/>
                    <a:pt x="3170" y="3335"/>
                    <a:pt x="3185" y="3298"/>
                  </a:cubicBezTo>
                  <a:cubicBezTo>
                    <a:pt x="3170" y="3305"/>
                    <a:pt x="3162" y="3305"/>
                    <a:pt x="3147" y="3305"/>
                  </a:cubicBezTo>
                  <a:cubicBezTo>
                    <a:pt x="3132" y="3305"/>
                    <a:pt x="3125" y="3320"/>
                    <a:pt x="3110" y="3320"/>
                  </a:cubicBezTo>
                  <a:cubicBezTo>
                    <a:pt x="3102" y="3320"/>
                    <a:pt x="3102" y="3313"/>
                    <a:pt x="3095" y="3313"/>
                  </a:cubicBezTo>
                  <a:cubicBezTo>
                    <a:pt x="3102" y="3298"/>
                    <a:pt x="3110" y="3290"/>
                    <a:pt x="3125" y="3283"/>
                  </a:cubicBezTo>
                  <a:cubicBezTo>
                    <a:pt x="3140" y="3275"/>
                    <a:pt x="3162" y="3275"/>
                    <a:pt x="3162" y="3260"/>
                  </a:cubicBezTo>
                  <a:cubicBezTo>
                    <a:pt x="3162" y="3253"/>
                    <a:pt x="3155" y="3245"/>
                    <a:pt x="3155" y="3245"/>
                  </a:cubicBezTo>
                  <a:cubicBezTo>
                    <a:pt x="3162" y="3238"/>
                    <a:pt x="3170" y="3230"/>
                    <a:pt x="3170" y="3223"/>
                  </a:cubicBezTo>
                  <a:cubicBezTo>
                    <a:pt x="3177" y="3215"/>
                    <a:pt x="3170" y="3200"/>
                    <a:pt x="3177" y="3200"/>
                  </a:cubicBezTo>
                  <a:cubicBezTo>
                    <a:pt x="3192" y="3185"/>
                    <a:pt x="3207" y="3193"/>
                    <a:pt x="3215" y="3185"/>
                  </a:cubicBezTo>
                  <a:cubicBezTo>
                    <a:pt x="3229" y="3178"/>
                    <a:pt x="3237" y="3178"/>
                    <a:pt x="3245" y="3170"/>
                  </a:cubicBezTo>
                  <a:cubicBezTo>
                    <a:pt x="3252" y="3170"/>
                    <a:pt x="3260" y="3170"/>
                    <a:pt x="3260" y="3163"/>
                  </a:cubicBezTo>
                  <a:cubicBezTo>
                    <a:pt x="3260" y="3155"/>
                    <a:pt x="3260" y="3148"/>
                    <a:pt x="3260" y="3140"/>
                  </a:cubicBezTo>
                  <a:cubicBezTo>
                    <a:pt x="3260" y="3133"/>
                    <a:pt x="3267" y="3125"/>
                    <a:pt x="3267" y="3110"/>
                  </a:cubicBezTo>
                  <a:lnTo>
                    <a:pt x="3267" y="3103"/>
                  </a:lnTo>
                  <a:cubicBezTo>
                    <a:pt x="3229" y="3118"/>
                    <a:pt x="3207" y="3133"/>
                    <a:pt x="3162" y="3140"/>
                  </a:cubicBezTo>
                  <a:cubicBezTo>
                    <a:pt x="3155" y="3125"/>
                    <a:pt x="3155" y="3125"/>
                    <a:pt x="3155" y="3125"/>
                  </a:cubicBezTo>
                  <a:cubicBezTo>
                    <a:pt x="3162" y="3110"/>
                    <a:pt x="3162" y="3095"/>
                    <a:pt x="3177" y="3088"/>
                  </a:cubicBezTo>
                  <a:cubicBezTo>
                    <a:pt x="3192" y="3073"/>
                    <a:pt x="3207" y="3073"/>
                    <a:pt x="3229" y="3065"/>
                  </a:cubicBezTo>
                  <a:cubicBezTo>
                    <a:pt x="3252" y="3058"/>
                    <a:pt x="3252" y="3035"/>
                    <a:pt x="3267" y="3013"/>
                  </a:cubicBezTo>
                  <a:cubicBezTo>
                    <a:pt x="3275" y="2998"/>
                    <a:pt x="3275" y="2990"/>
                    <a:pt x="3275" y="2975"/>
                  </a:cubicBezTo>
                  <a:cubicBezTo>
                    <a:pt x="3275" y="2960"/>
                    <a:pt x="3267" y="2945"/>
                    <a:pt x="3260" y="2938"/>
                  </a:cubicBezTo>
                  <a:cubicBezTo>
                    <a:pt x="3252" y="2930"/>
                    <a:pt x="3237" y="2930"/>
                    <a:pt x="3237" y="2923"/>
                  </a:cubicBezTo>
                  <a:cubicBezTo>
                    <a:pt x="3229" y="2908"/>
                    <a:pt x="3229" y="2900"/>
                    <a:pt x="3229" y="2893"/>
                  </a:cubicBezTo>
                  <a:cubicBezTo>
                    <a:pt x="3229" y="2840"/>
                    <a:pt x="3229" y="2840"/>
                    <a:pt x="3229" y="2840"/>
                  </a:cubicBezTo>
                  <a:cubicBezTo>
                    <a:pt x="3222" y="2848"/>
                    <a:pt x="3222" y="2848"/>
                    <a:pt x="3222" y="2848"/>
                  </a:cubicBezTo>
                  <a:cubicBezTo>
                    <a:pt x="3200" y="2886"/>
                    <a:pt x="3185" y="2900"/>
                    <a:pt x="3170" y="2938"/>
                  </a:cubicBezTo>
                  <a:cubicBezTo>
                    <a:pt x="3155" y="2938"/>
                    <a:pt x="3155" y="2938"/>
                    <a:pt x="3155" y="2938"/>
                  </a:cubicBezTo>
                  <a:cubicBezTo>
                    <a:pt x="3155" y="2900"/>
                    <a:pt x="3170" y="2878"/>
                    <a:pt x="3185" y="2848"/>
                  </a:cubicBezTo>
                  <a:cubicBezTo>
                    <a:pt x="3200" y="2826"/>
                    <a:pt x="3200" y="2810"/>
                    <a:pt x="3200" y="2781"/>
                  </a:cubicBezTo>
                  <a:cubicBezTo>
                    <a:pt x="3207" y="2751"/>
                    <a:pt x="3215" y="2736"/>
                    <a:pt x="3215" y="2706"/>
                  </a:cubicBezTo>
                  <a:cubicBezTo>
                    <a:pt x="3215" y="2668"/>
                    <a:pt x="3200" y="2653"/>
                    <a:pt x="3200" y="2623"/>
                  </a:cubicBezTo>
                  <a:cubicBezTo>
                    <a:pt x="3200" y="2556"/>
                    <a:pt x="3200" y="2556"/>
                    <a:pt x="3200" y="2556"/>
                  </a:cubicBezTo>
                  <a:cubicBezTo>
                    <a:pt x="3147" y="2428"/>
                    <a:pt x="3147" y="2428"/>
                    <a:pt x="3147" y="2428"/>
                  </a:cubicBezTo>
                  <a:cubicBezTo>
                    <a:pt x="3155" y="2391"/>
                    <a:pt x="3170" y="2376"/>
                    <a:pt x="3170" y="2338"/>
                  </a:cubicBezTo>
                  <a:cubicBezTo>
                    <a:pt x="3170" y="2316"/>
                    <a:pt x="3155" y="2316"/>
                    <a:pt x="3140" y="2308"/>
                  </a:cubicBezTo>
                  <a:cubicBezTo>
                    <a:pt x="3117" y="2293"/>
                    <a:pt x="3110" y="2278"/>
                    <a:pt x="3087" y="2263"/>
                  </a:cubicBezTo>
                  <a:cubicBezTo>
                    <a:pt x="3065" y="2241"/>
                    <a:pt x="3057" y="2226"/>
                    <a:pt x="3042" y="2204"/>
                  </a:cubicBezTo>
                  <a:cubicBezTo>
                    <a:pt x="3035" y="2181"/>
                    <a:pt x="3027" y="2174"/>
                    <a:pt x="3027" y="2151"/>
                  </a:cubicBezTo>
                  <a:cubicBezTo>
                    <a:pt x="3027" y="2144"/>
                    <a:pt x="3020" y="2136"/>
                    <a:pt x="3027" y="2128"/>
                  </a:cubicBezTo>
                  <a:cubicBezTo>
                    <a:pt x="3035" y="2121"/>
                    <a:pt x="3042" y="2114"/>
                    <a:pt x="3050" y="2114"/>
                  </a:cubicBezTo>
                  <a:cubicBezTo>
                    <a:pt x="3065" y="2106"/>
                    <a:pt x="3065" y="2091"/>
                    <a:pt x="3065" y="2076"/>
                  </a:cubicBezTo>
                  <a:cubicBezTo>
                    <a:pt x="3065" y="2069"/>
                    <a:pt x="3065" y="2061"/>
                    <a:pt x="3057" y="2061"/>
                  </a:cubicBezTo>
                  <a:cubicBezTo>
                    <a:pt x="3057" y="2061"/>
                    <a:pt x="3050" y="2061"/>
                    <a:pt x="3042" y="2061"/>
                  </a:cubicBezTo>
                  <a:cubicBezTo>
                    <a:pt x="3020" y="2046"/>
                    <a:pt x="3005" y="2039"/>
                    <a:pt x="2990" y="2016"/>
                  </a:cubicBezTo>
                  <a:cubicBezTo>
                    <a:pt x="2990" y="2009"/>
                    <a:pt x="2990" y="2001"/>
                    <a:pt x="2997" y="2001"/>
                  </a:cubicBezTo>
                  <a:cubicBezTo>
                    <a:pt x="3005" y="1994"/>
                    <a:pt x="3027" y="1994"/>
                    <a:pt x="3027" y="1979"/>
                  </a:cubicBezTo>
                  <a:cubicBezTo>
                    <a:pt x="3027" y="1949"/>
                    <a:pt x="3005" y="1934"/>
                    <a:pt x="2990" y="1911"/>
                  </a:cubicBezTo>
                  <a:cubicBezTo>
                    <a:pt x="2982" y="1896"/>
                    <a:pt x="2967" y="1881"/>
                    <a:pt x="2960" y="1859"/>
                  </a:cubicBezTo>
                  <a:cubicBezTo>
                    <a:pt x="2960" y="1859"/>
                    <a:pt x="2960" y="1851"/>
                    <a:pt x="2952" y="1851"/>
                  </a:cubicBezTo>
                  <a:cubicBezTo>
                    <a:pt x="2937" y="1829"/>
                    <a:pt x="2922" y="1821"/>
                    <a:pt x="2907" y="1799"/>
                  </a:cubicBezTo>
                  <a:cubicBezTo>
                    <a:pt x="2892" y="1776"/>
                    <a:pt x="2885" y="1761"/>
                    <a:pt x="2870" y="1739"/>
                  </a:cubicBezTo>
                  <a:cubicBezTo>
                    <a:pt x="2847" y="1701"/>
                    <a:pt x="2840" y="1679"/>
                    <a:pt x="2825" y="1641"/>
                  </a:cubicBezTo>
                  <a:cubicBezTo>
                    <a:pt x="2810" y="1604"/>
                    <a:pt x="2802" y="1574"/>
                    <a:pt x="2772" y="1552"/>
                  </a:cubicBezTo>
                  <a:cubicBezTo>
                    <a:pt x="2750" y="1536"/>
                    <a:pt x="2728" y="1544"/>
                    <a:pt x="2705" y="1529"/>
                  </a:cubicBezTo>
                  <a:cubicBezTo>
                    <a:pt x="2652" y="1529"/>
                    <a:pt x="2630" y="1484"/>
                    <a:pt x="2608" y="1439"/>
                  </a:cubicBezTo>
                  <a:cubicBezTo>
                    <a:pt x="2585" y="1387"/>
                    <a:pt x="2578" y="1357"/>
                    <a:pt x="2570" y="1297"/>
                  </a:cubicBezTo>
                  <a:cubicBezTo>
                    <a:pt x="2555" y="1244"/>
                    <a:pt x="2548" y="1207"/>
                    <a:pt x="2540" y="1154"/>
                  </a:cubicBezTo>
                  <a:cubicBezTo>
                    <a:pt x="2533" y="1132"/>
                    <a:pt x="2525" y="1124"/>
                    <a:pt x="2525" y="1102"/>
                  </a:cubicBezTo>
                  <a:cubicBezTo>
                    <a:pt x="2518" y="1072"/>
                    <a:pt x="2518" y="1057"/>
                    <a:pt x="2518" y="1027"/>
                  </a:cubicBezTo>
                  <a:cubicBezTo>
                    <a:pt x="2510" y="945"/>
                    <a:pt x="2510" y="899"/>
                    <a:pt x="2510" y="817"/>
                  </a:cubicBezTo>
                  <a:cubicBezTo>
                    <a:pt x="2510" y="742"/>
                    <a:pt x="2510" y="697"/>
                    <a:pt x="2518" y="622"/>
                  </a:cubicBezTo>
                  <a:cubicBezTo>
                    <a:pt x="2525" y="585"/>
                    <a:pt x="2525" y="570"/>
                    <a:pt x="2525" y="532"/>
                  </a:cubicBezTo>
                  <a:cubicBezTo>
                    <a:pt x="2525" y="480"/>
                    <a:pt x="2533" y="450"/>
                    <a:pt x="2548" y="398"/>
                  </a:cubicBezTo>
                  <a:cubicBezTo>
                    <a:pt x="2555" y="352"/>
                    <a:pt x="2563" y="323"/>
                    <a:pt x="2578" y="285"/>
                  </a:cubicBezTo>
                  <a:cubicBezTo>
                    <a:pt x="2585" y="270"/>
                    <a:pt x="2593" y="263"/>
                    <a:pt x="2593" y="248"/>
                  </a:cubicBezTo>
                  <a:cubicBezTo>
                    <a:pt x="2593" y="173"/>
                    <a:pt x="2593" y="173"/>
                    <a:pt x="2593" y="173"/>
                  </a:cubicBezTo>
                  <a:cubicBezTo>
                    <a:pt x="2585" y="180"/>
                    <a:pt x="2578" y="188"/>
                    <a:pt x="2570" y="195"/>
                  </a:cubicBezTo>
                  <a:cubicBezTo>
                    <a:pt x="2548" y="218"/>
                    <a:pt x="2533" y="225"/>
                    <a:pt x="2510" y="240"/>
                  </a:cubicBezTo>
                  <a:cubicBezTo>
                    <a:pt x="2473" y="263"/>
                    <a:pt x="2458" y="293"/>
                    <a:pt x="2420" y="293"/>
                  </a:cubicBezTo>
                  <a:cubicBezTo>
                    <a:pt x="2383" y="293"/>
                    <a:pt x="2368" y="270"/>
                    <a:pt x="2338" y="248"/>
                  </a:cubicBezTo>
                  <a:cubicBezTo>
                    <a:pt x="2308" y="240"/>
                    <a:pt x="2293" y="233"/>
                    <a:pt x="2270" y="210"/>
                  </a:cubicBezTo>
                  <a:lnTo>
                    <a:pt x="2263" y="203"/>
                  </a:lnTo>
                  <a:cubicBezTo>
                    <a:pt x="2225" y="165"/>
                    <a:pt x="2203" y="128"/>
                    <a:pt x="2165" y="98"/>
                  </a:cubicBezTo>
                  <a:cubicBezTo>
                    <a:pt x="2135" y="98"/>
                    <a:pt x="2113" y="98"/>
                    <a:pt x="2091" y="90"/>
                  </a:cubicBezTo>
                  <a:cubicBezTo>
                    <a:pt x="2068" y="83"/>
                    <a:pt x="2061" y="68"/>
                    <a:pt x="2046" y="53"/>
                  </a:cubicBezTo>
                  <a:cubicBezTo>
                    <a:pt x="2016" y="38"/>
                    <a:pt x="1993" y="23"/>
                    <a:pt x="1971" y="0"/>
                  </a:cubicBezTo>
                  <a:cubicBezTo>
                    <a:pt x="1971" y="15"/>
                    <a:pt x="1963" y="23"/>
                    <a:pt x="1963" y="38"/>
                  </a:cubicBezTo>
                  <a:cubicBezTo>
                    <a:pt x="1963" y="53"/>
                    <a:pt x="1963" y="60"/>
                    <a:pt x="1963" y="75"/>
                  </a:cubicBezTo>
                  <a:cubicBezTo>
                    <a:pt x="1956" y="105"/>
                    <a:pt x="1933" y="120"/>
                    <a:pt x="1911" y="150"/>
                  </a:cubicBezTo>
                  <a:cubicBezTo>
                    <a:pt x="1896" y="165"/>
                    <a:pt x="1888" y="173"/>
                    <a:pt x="1881" y="195"/>
                  </a:cubicBezTo>
                  <a:cubicBezTo>
                    <a:pt x="1881" y="210"/>
                    <a:pt x="1881" y="218"/>
                    <a:pt x="1881" y="233"/>
                  </a:cubicBezTo>
                  <a:cubicBezTo>
                    <a:pt x="1873" y="263"/>
                    <a:pt x="1866" y="278"/>
                    <a:pt x="1858" y="300"/>
                  </a:cubicBezTo>
                  <a:cubicBezTo>
                    <a:pt x="1851" y="308"/>
                    <a:pt x="1843" y="315"/>
                    <a:pt x="1843" y="323"/>
                  </a:cubicBezTo>
                  <a:cubicBezTo>
                    <a:pt x="1836" y="352"/>
                    <a:pt x="1843" y="368"/>
                    <a:pt x="1843" y="398"/>
                  </a:cubicBezTo>
                  <a:cubicBezTo>
                    <a:pt x="1836" y="405"/>
                    <a:pt x="1836" y="412"/>
                    <a:pt x="1836" y="420"/>
                  </a:cubicBezTo>
                  <a:cubicBezTo>
                    <a:pt x="1828" y="465"/>
                    <a:pt x="1828" y="495"/>
                    <a:pt x="1821" y="532"/>
                  </a:cubicBezTo>
                  <a:cubicBezTo>
                    <a:pt x="1821" y="555"/>
                    <a:pt x="1813" y="570"/>
                    <a:pt x="1813" y="592"/>
                  </a:cubicBezTo>
                  <a:cubicBezTo>
                    <a:pt x="1813" y="607"/>
                    <a:pt x="1828" y="615"/>
                    <a:pt x="1843" y="622"/>
                  </a:cubicBezTo>
                  <a:cubicBezTo>
                    <a:pt x="2068" y="517"/>
                    <a:pt x="2068" y="517"/>
                    <a:pt x="2068" y="517"/>
                  </a:cubicBezTo>
                  <a:cubicBezTo>
                    <a:pt x="2091" y="525"/>
                    <a:pt x="2098" y="540"/>
                    <a:pt x="2121" y="540"/>
                  </a:cubicBezTo>
                  <a:cubicBezTo>
                    <a:pt x="2143" y="540"/>
                    <a:pt x="2151" y="517"/>
                    <a:pt x="2173" y="510"/>
                  </a:cubicBezTo>
                  <a:cubicBezTo>
                    <a:pt x="2188" y="495"/>
                    <a:pt x="2211" y="495"/>
                    <a:pt x="2225" y="480"/>
                  </a:cubicBezTo>
                  <a:cubicBezTo>
                    <a:pt x="2240" y="465"/>
                    <a:pt x="2233" y="442"/>
                    <a:pt x="2240" y="420"/>
                  </a:cubicBezTo>
                  <a:cubicBezTo>
                    <a:pt x="2248" y="405"/>
                    <a:pt x="2255" y="398"/>
                    <a:pt x="2263" y="398"/>
                  </a:cubicBezTo>
                  <a:cubicBezTo>
                    <a:pt x="2285" y="398"/>
                    <a:pt x="2293" y="405"/>
                    <a:pt x="2300" y="420"/>
                  </a:cubicBezTo>
                  <a:cubicBezTo>
                    <a:pt x="2323" y="442"/>
                    <a:pt x="2330" y="458"/>
                    <a:pt x="2345" y="480"/>
                  </a:cubicBezTo>
                  <a:cubicBezTo>
                    <a:pt x="2360" y="502"/>
                    <a:pt x="2368" y="510"/>
                    <a:pt x="2375" y="532"/>
                  </a:cubicBezTo>
                  <a:cubicBezTo>
                    <a:pt x="2383" y="547"/>
                    <a:pt x="2390" y="555"/>
                    <a:pt x="2390" y="577"/>
                  </a:cubicBezTo>
                  <a:cubicBezTo>
                    <a:pt x="2390" y="615"/>
                    <a:pt x="2345" y="630"/>
                    <a:pt x="2345" y="667"/>
                  </a:cubicBezTo>
                  <a:cubicBezTo>
                    <a:pt x="2345" y="787"/>
                    <a:pt x="2345" y="787"/>
                    <a:pt x="2345" y="787"/>
                  </a:cubicBezTo>
                  <a:cubicBezTo>
                    <a:pt x="2345" y="802"/>
                    <a:pt x="2338" y="810"/>
                    <a:pt x="2338" y="817"/>
                  </a:cubicBezTo>
                  <a:cubicBezTo>
                    <a:pt x="2330" y="855"/>
                    <a:pt x="2323" y="877"/>
                    <a:pt x="2315" y="907"/>
                  </a:cubicBezTo>
                  <a:cubicBezTo>
                    <a:pt x="2300" y="952"/>
                    <a:pt x="2270" y="997"/>
                    <a:pt x="2225" y="997"/>
                  </a:cubicBezTo>
                  <a:cubicBezTo>
                    <a:pt x="2211" y="997"/>
                    <a:pt x="2203" y="989"/>
                    <a:pt x="2195" y="982"/>
                  </a:cubicBezTo>
                  <a:cubicBezTo>
                    <a:pt x="2181" y="975"/>
                    <a:pt x="2165" y="967"/>
                    <a:pt x="2151" y="952"/>
                  </a:cubicBezTo>
                  <a:cubicBezTo>
                    <a:pt x="2121" y="937"/>
                    <a:pt x="2098" y="929"/>
                    <a:pt x="2068" y="907"/>
                  </a:cubicBezTo>
                  <a:cubicBezTo>
                    <a:pt x="2038" y="885"/>
                    <a:pt x="2031" y="855"/>
                    <a:pt x="1993" y="832"/>
                  </a:cubicBezTo>
                  <a:cubicBezTo>
                    <a:pt x="1978" y="817"/>
                    <a:pt x="1971" y="802"/>
                    <a:pt x="1948" y="802"/>
                  </a:cubicBezTo>
                  <a:cubicBezTo>
                    <a:pt x="1918" y="802"/>
                    <a:pt x="1926" y="840"/>
                    <a:pt x="1918" y="870"/>
                  </a:cubicBezTo>
                  <a:cubicBezTo>
                    <a:pt x="1911" y="899"/>
                    <a:pt x="1911" y="922"/>
                    <a:pt x="1896" y="952"/>
                  </a:cubicBezTo>
                  <a:cubicBezTo>
                    <a:pt x="1888" y="982"/>
                    <a:pt x="1888" y="997"/>
                    <a:pt x="1866" y="1027"/>
                  </a:cubicBezTo>
                  <a:cubicBezTo>
                    <a:pt x="1851" y="1049"/>
                    <a:pt x="1836" y="1072"/>
                    <a:pt x="1806" y="1072"/>
                  </a:cubicBezTo>
                  <a:cubicBezTo>
                    <a:pt x="1798" y="1072"/>
                    <a:pt x="1791" y="1064"/>
                    <a:pt x="1783" y="1057"/>
                  </a:cubicBezTo>
                  <a:cubicBezTo>
                    <a:pt x="1776" y="1057"/>
                    <a:pt x="1768" y="1049"/>
                    <a:pt x="1753" y="1049"/>
                  </a:cubicBezTo>
                  <a:cubicBezTo>
                    <a:pt x="1738" y="1042"/>
                    <a:pt x="1723" y="1042"/>
                    <a:pt x="1716" y="1027"/>
                  </a:cubicBezTo>
                  <a:cubicBezTo>
                    <a:pt x="1708" y="1012"/>
                    <a:pt x="1708" y="997"/>
                    <a:pt x="1708" y="975"/>
                  </a:cubicBezTo>
                  <a:cubicBezTo>
                    <a:pt x="1701" y="945"/>
                    <a:pt x="1693" y="922"/>
                    <a:pt x="1686" y="892"/>
                  </a:cubicBezTo>
                  <a:cubicBezTo>
                    <a:pt x="1671" y="802"/>
                    <a:pt x="1648" y="757"/>
                    <a:pt x="1648" y="675"/>
                  </a:cubicBezTo>
                  <a:cubicBezTo>
                    <a:pt x="1648" y="585"/>
                    <a:pt x="1648" y="585"/>
                    <a:pt x="1648" y="585"/>
                  </a:cubicBezTo>
                  <a:cubicBezTo>
                    <a:pt x="1648" y="555"/>
                    <a:pt x="1656" y="532"/>
                    <a:pt x="1641" y="502"/>
                  </a:cubicBezTo>
                  <a:cubicBezTo>
                    <a:pt x="1633" y="488"/>
                    <a:pt x="1618" y="488"/>
                    <a:pt x="1603" y="480"/>
                  </a:cubicBezTo>
                  <a:cubicBezTo>
                    <a:pt x="1596" y="480"/>
                    <a:pt x="1588" y="472"/>
                    <a:pt x="1573" y="472"/>
                  </a:cubicBezTo>
                  <a:cubicBezTo>
                    <a:pt x="1558" y="472"/>
                    <a:pt x="1551" y="488"/>
                    <a:pt x="1543" y="502"/>
                  </a:cubicBezTo>
                  <a:cubicBezTo>
                    <a:pt x="1543" y="517"/>
                    <a:pt x="1528" y="517"/>
                    <a:pt x="1521" y="525"/>
                  </a:cubicBezTo>
                  <a:cubicBezTo>
                    <a:pt x="1506" y="540"/>
                    <a:pt x="1491" y="555"/>
                    <a:pt x="1476" y="555"/>
                  </a:cubicBezTo>
                  <a:cubicBezTo>
                    <a:pt x="1453" y="555"/>
                    <a:pt x="1453" y="540"/>
                    <a:pt x="1439" y="525"/>
                  </a:cubicBezTo>
                  <a:cubicBezTo>
                    <a:pt x="1423" y="510"/>
                    <a:pt x="1416" y="502"/>
                    <a:pt x="1393" y="480"/>
                  </a:cubicBezTo>
                  <a:cubicBezTo>
                    <a:pt x="1371" y="458"/>
                    <a:pt x="1356" y="450"/>
                    <a:pt x="1326" y="435"/>
                  </a:cubicBezTo>
                  <a:cubicBezTo>
                    <a:pt x="1311" y="480"/>
                    <a:pt x="1311" y="510"/>
                    <a:pt x="1311" y="562"/>
                  </a:cubicBezTo>
                  <a:cubicBezTo>
                    <a:pt x="1311" y="577"/>
                    <a:pt x="1311" y="585"/>
                    <a:pt x="1296" y="600"/>
                  </a:cubicBezTo>
                  <a:cubicBezTo>
                    <a:pt x="1289" y="607"/>
                    <a:pt x="1274" y="607"/>
                    <a:pt x="1259" y="607"/>
                  </a:cubicBezTo>
                  <a:cubicBezTo>
                    <a:pt x="1244" y="607"/>
                    <a:pt x="1236" y="615"/>
                    <a:pt x="1221" y="622"/>
                  </a:cubicBezTo>
                  <a:cubicBezTo>
                    <a:pt x="1259" y="645"/>
                    <a:pt x="1281" y="667"/>
                    <a:pt x="1296" y="712"/>
                  </a:cubicBezTo>
                  <a:cubicBezTo>
                    <a:pt x="1296" y="727"/>
                    <a:pt x="1296" y="735"/>
                    <a:pt x="1304" y="750"/>
                  </a:cubicBezTo>
                  <a:cubicBezTo>
                    <a:pt x="1304" y="757"/>
                    <a:pt x="1319" y="757"/>
                    <a:pt x="1326" y="765"/>
                  </a:cubicBezTo>
                  <a:cubicBezTo>
                    <a:pt x="1334" y="780"/>
                    <a:pt x="1341" y="787"/>
                    <a:pt x="1349" y="802"/>
                  </a:cubicBezTo>
                  <a:cubicBezTo>
                    <a:pt x="1334" y="810"/>
                    <a:pt x="1334" y="810"/>
                    <a:pt x="1334" y="810"/>
                  </a:cubicBezTo>
                  <a:cubicBezTo>
                    <a:pt x="1326" y="795"/>
                    <a:pt x="1311" y="780"/>
                    <a:pt x="1296" y="765"/>
                  </a:cubicBezTo>
                  <a:cubicBezTo>
                    <a:pt x="1296" y="787"/>
                    <a:pt x="1296" y="795"/>
                    <a:pt x="1296" y="810"/>
                  </a:cubicBezTo>
                  <a:cubicBezTo>
                    <a:pt x="1296" y="840"/>
                    <a:pt x="1296" y="855"/>
                    <a:pt x="1289" y="877"/>
                  </a:cubicBezTo>
                  <a:cubicBezTo>
                    <a:pt x="1289" y="929"/>
                    <a:pt x="1281" y="959"/>
                    <a:pt x="1266" y="1005"/>
                  </a:cubicBezTo>
                  <a:cubicBezTo>
                    <a:pt x="1259" y="1027"/>
                    <a:pt x="1251" y="1042"/>
                    <a:pt x="1244" y="1064"/>
                  </a:cubicBezTo>
                  <a:cubicBezTo>
                    <a:pt x="1236" y="1087"/>
                    <a:pt x="1236" y="1102"/>
                    <a:pt x="1221" y="1117"/>
                  </a:cubicBezTo>
                  <a:cubicBezTo>
                    <a:pt x="1199" y="1139"/>
                    <a:pt x="1176" y="1132"/>
                    <a:pt x="1146" y="1147"/>
                  </a:cubicBezTo>
                  <a:cubicBezTo>
                    <a:pt x="1131" y="1162"/>
                    <a:pt x="1124" y="1177"/>
                    <a:pt x="1109" y="1192"/>
                  </a:cubicBezTo>
                  <a:cubicBezTo>
                    <a:pt x="1101" y="1199"/>
                    <a:pt x="1094" y="1199"/>
                    <a:pt x="1086" y="1199"/>
                  </a:cubicBezTo>
                  <a:cubicBezTo>
                    <a:pt x="1071" y="1207"/>
                    <a:pt x="1064" y="1222"/>
                    <a:pt x="1056" y="1222"/>
                  </a:cubicBezTo>
                  <a:cubicBezTo>
                    <a:pt x="1019" y="1222"/>
                    <a:pt x="1011" y="1169"/>
                    <a:pt x="981" y="1169"/>
                  </a:cubicBezTo>
                  <a:cubicBezTo>
                    <a:pt x="966" y="1169"/>
                    <a:pt x="966" y="1177"/>
                    <a:pt x="966" y="1184"/>
                  </a:cubicBezTo>
                  <a:cubicBezTo>
                    <a:pt x="951" y="1199"/>
                    <a:pt x="936" y="1214"/>
                    <a:pt x="922" y="1229"/>
                  </a:cubicBezTo>
                  <a:cubicBezTo>
                    <a:pt x="906" y="1252"/>
                    <a:pt x="906" y="1267"/>
                    <a:pt x="892" y="1297"/>
                  </a:cubicBezTo>
                  <a:cubicBezTo>
                    <a:pt x="876" y="1327"/>
                    <a:pt x="854" y="1342"/>
                    <a:pt x="832" y="1364"/>
                  </a:cubicBezTo>
                  <a:cubicBezTo>
                    <a:pt x="809" y="1379"/>
                    <a:pt x="772" y="1379"/>
                    <a:pt x="772" y="1409"/>
                  </a:cubicBezTo>
                  <a:cubicBezTo>
                    <a:pt x="772" y="1424"/>
                    <a:pt x="779" y="1432"/>
                    <a:pt x="779" y="1447"/>
                  </a:cubicBezTo>
                  <a:cubicBezTo>
                    <a:pt x="802" y="1447"/>
                    <a:pt x="824" y="1439"/>
                    <a:pt x="839" y="1454"/>
                  </a:cubicBezTo>
                  <a:cubicBezTo>
                    <a:pt x="862" y="1462"/>
                    <a:pt x="862" y="1477"/>
                    <a:pt x="862" y="1499"/>
                  </a:cubicBezTo>
                  <a:cubicBezTo>
                    <a:pt x="862" y="1657"/>
                    <a:pt x="862" y="1657"/>
                    <a:pt x="862" y="1657"/>
                  </a:cubicBezTo>
                  <a:cubicBezTo>
                    <a:pt x="862" y="1746"/>
                    <a:pt x="951" y="1776"/>
                    <a:pt x="951" y="1866"/>
                  </a:cubicBezTo>
                  <a:cubicBezTo>
                    <a:pt x="951" y="1911"/>
                    <a:pt x="944" y="1934"/>
                    <a:pt x="936" y="1971"/>
                  </a:cubicBezTo>
                  <a:cubicBezTo>
                    <a:pt x="936" y="1986"/>
                    <a:pt x="936" y="1994"/>
                    <a:pt x="936" y="2009"/>
                  </a:cubicBezTo>
                  <a:cubicBezTo>
                    <a:pt x="929" y="2031"/>
                    <a:pt x="922" y="2039"/>
                    <a:pt x="914" y="2061"/>
                  </a:cubicBezTo>
                  <a:cubicBezTo>
                    <a:pt x="914" y="2076"/>
                    <a:pt x="914" y="2084"/>
                    <a:pt x="906" y="2099"/>
                  </a:cubicBezTo>
                  <a:cubicBezTo>
                    <a:pt x="899" y="2144"/>
                    <a:pt x="892" y="2174"/>
                    <a:pt x="876" y="2218"/>
                  </a:cubicBezTo>
                  <a:cubicBezTo>
                    <a:pt x="854" y="2241"/>
                    <a:pt x="846" y="2263"/>
                    <a:pt x="832" y="2293"/>
                  </a:cubicBezTo>
                  <a:cubicBezTo>
                    <a:pt x="824" y="2308"/>
                    <a:pt x="816" y="2316"/>
                    <a:pt x="802" y="2323"/>
                  </a:cubicBezTo>
                  <a:cubicBezTo>
                    <a:pt x="764" y="2361"/>
                    <a:pt x="734" y="2368"/>
                    <a:pt x="689" y="2368"/>
                  </a:cubicBezTo>
                  <a:cubicBezTo>
                    <a:pt x="644" y="2368"/>
                    <a:pt x="622" y="2353"/>
                    <a:pt x="584" y="2331"/>
                  </a:cubicBezTo>
                  <a:cubicBezTo>
                    <a:pt x="584" y="2338"/>
                    <a:pt x="584" y="2338"/>
                    <a:pt x="584" y="2346"/>
                  </a:cubicBezTo>
                  <a:cubicBezTo>
                    <a:pt x="584" y="2353"/>
                    <a:pt x="592" y="2361"/>
                    <a:pt x="592" y="2368"/>
                  </a:cubicBezTo>
                  <a:cubicBezTo>
                    <a:pt x="607" y="2406"/>
                    <a:pt x="614" y="2421"/>
                    <a:pt x="622" y="2458"/>
                  </a:cubicBezTo>
                  <a:cubicBezTo>
                    <a:pt x="629" y="2481"/>
                    <a:pt x="629" y="2503"/>
                    <a:pt x="644" y="2518"/>
                  </a:cubicBezTo>
                  <a:cubicBezTo>
                    <a:pt x="659" y="2533"/>
                    <a:pt x="674" y="2533"/>
                    <a:pt x="697" y="2533"/>
                  </a:cubicBezTo>
                  <a:cubicBezTo>
                    <a:pt x="712" y="2533"/>
                    <a:pt x="719" y="2526"/>
                    <a:pt x="734" y="2518"/>
                  </a:cubicBezTo>
                  <a:cubicBezTo>
                    <a:pt x="742" y="2518"/>
                    <a:pt x="742" y="2503"/>
                    <a:pt x="749" y="2496"/>
                  </a:cubicBezTo>
                  <a:cubicBezTo>
                    <a:pt x="764" y="2488"/>
                    <a:pt x="772" y="2481"/>
                    <a:pt x="787" y="2481"/>
                  </a:cubicBezTo>
                  <a:cubicBezTo>
                    <a:pt x="802" y="2481"/>
                    <a:pt x="809" y="2473"/>
                    <a:pt x="816" y="2473"/>
                  </a:cubicBezTo>
                  <a:cubicBezTo>
                    <a:pt x="832" y="2473"/>
                    <a:pt x="839" y="2481"/>
                    <a:pt x="846" y="2481"/>
                  </a:cubicBezTo>
                  <a:cubicBezTo>
                    <a:pt x="892" y="2488"/>
                    <a:pt x="914" y="2511"/>
                    <a:pt x="936" y="2541"/>
                  </a:cubicBezTo>
                  <a:cubicBezTo>
                    <a:pt x="989" y="2616"/>
                    <a:pt x="1004" y="2668"/>
                    <a:pt x="1004" y="2758"/>
                  </a:cubicBezTo>
                  <a:cubicBezTo>
                    <a:pt x="1004" y="2818"/>
                    <a:pt x="1004" y="2818"/>
                    <a:pt x="1004" y="2818"/>
                  </a:cubicBezTo>
                  <a:cubicBezTo>
                    <a:pt x="1004" y="2833"/>
                    <a:pt x="996" y="2840"/>
                    <a:pt x="996" y="2856"/>
                  </a:cubicBezTo>
                  <a:cubicBezTo>
                    <a:pt x="989" y="2923"/>
                    <a:pt x="996" y="2968"/>
                    <a:pt x="981" y="3035"/>
                  </a:cubicBezTo>
                  <a:cubicBezTo>
                    <a:pt x="981" y="3058"/>
                    <a:pt x="974" y="3080"/>
                    <a:pt x="966" y="3110"/>
                  </a:cubicBezTo>
                  <a:cubicBezTo>
                    <a:pt x="959" y="3163"/>
                    <a:pt x="944" y="3193"/>
                    <a:pt x="936" y="3253"/>
                  </a:cubicBezTo>
                  <a:cubicBezTo>
                    <a:pt x="929" y="3283"/>
                    <a:pt x="922" y="3298"/>
                    <a:pt x="914" y="3328"/>
                  </a:cubicBezTo>
                  <a:cubicBezTo>
                    <a:pt x="906" y="3343"/>
                    <a:pt x="906" y="3350"/>
                    <a:pt x="899" y="3365"/>
                  </a:cubicBezTo>
                  <a:cubicBezTo>
                    <a:pt x="892" y="3373"/>
                    <a:pt x="892" y="3387"/>
                    <a:pt x="876" y="3387"/>
                  </a:cubicBezTo>
                  <a:cubicBezTo>
                    <a:pt x="869" y="3387"/>
                    <a:pt x="869" y="3380"/>
                    <a:pt x="862" y="3380"/>
                  </a:cubicBezTo>
                  <a:cubicBezTo>
                    <a:pt x="846" y="3380"/>
                    <a:pt x="846" y="3395"/>
                    <a:pt x="839" y="3403"/>
                  </a:cubicBezTo>
                  <a:cubicBezTo>
                    <a:pt x="832" y="3425"/>
                    <a:pt x="832" y="3433"/>
                    <a:pt x="824" y="3455"/>
                  </a:cubicBezTo>
                  <a:cubicBezTo>
                    <a:pt x="816" y="3477"/>
                    <a:pt x="809" y="3492"/>
                    <a:pt x="802" y="3515"/>
                  </a:cubicBezTo>
                  <a:cubicBezTo>
                    <a:pt x="802" y="3537"/>
                    <a:pt x="802" y="3560"/>
                    <a:pt x="802" y="3582"/>
                  </a:cubicBezTo>
                  <a:cubicBezTo>
                    <a:pt x="794" y="3612"/>
                    <a:pt x="787" y="3627"/>
                    <a:pt x="779" y="3657"/>
                  </a:cubicBezTo>
                  <a:cubicBezTo>
                    <a:pt x="772" y="3710"/>
                    <a:pt x="772" y="3747"/>
                    <a:pt x="757" y="3800"/>
                  </a:cubicBezTo>
                  <a:cubicBezTo>
                    <a:pt x="734" y="3852"/>
                    <a:pt x="712" y="3882"/>
                    <a:pt x="697" y="3935"/>
                  </a:cubicBezTo>
                  <a:cubicBezTo>
                    <a:pt x="689" y="3972"/>
                    <a:pt x="682" y="3987"/>
                    <a:pt x="674" y="4025"/>
                  </a:cubicBezTo>
                  <a:cubicBezTo>
                    <a:pt x="659" y="4069"/>
                    <a:pt x="659" y="4107"/>
                    <a:pt x="637" y="4152"/>
                  </a:cubicBezTo>
                  <a:cubicBezTo>
                    <a:pt x="622" y="4174"/>
                    <a:pt x="592" y="4182"/>
                    <a:pt x="569" y="4197"/>
                  </a:cubicBezTo>
                  <a:cubicBezTo>
                    <a:pt x="554" y="4212"/>
                    <a:pt x="539" y="4219"/>
                    <a:pt x="524" y="4234"/>
                  </a:cubicBezTo>
                  <a:cubicBezTo>
                    <a:pt x="494" y="4257"/>
                    <a:pt x="487" y="4272"/>
                    <a:pt x="472" y="4302"/>
                  </a:cubicBezTo>
                  <a:cubicBezTo>
                    <a:pt x="457" y="4324"/>
                    <a:pt x="449" y="4339"/>
                    <a:pt x="434" y="4369"/>
                  </a:cubicBezTo>
                  <a:cubicBezTo>
                    <a:pt x="419" y="4399"/>
                    <a:pt x="412" y="4414"/>
                    <a:pt x="404" y="44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138"/>
            <p:cNvSpPr>
              <a:spLocks noChangeArrowheads="1"/>
            </p:cNvSpPr>
            <p:nvPr/>
          </p:nvSpPr>
          <p:spPr bwMode="auto">
            <a:xfrm>
              <a:off x="7508752" y="2908351"/>
              <a:ext cx="3193056" cy="2798870"/>
            </a:xfrm>
            <a:custGeom>
              <a:avLst/>
              <a:gdLst>
                <a:gd name="T0" fmla="*/ 6768 w 7391"/>
                <a:gd name="T1" fmla="*/ 3507 h 6476"/>
                <a:gd name="T2" fmla="*/ 6925 w 7391"/>
                <a:gd name="T3" fmla="*/ 3560 h 6476"/>
                <a:gd name="T4" fmla="*/ 7240 w 7391"/>
                <a:gd name="T5" fmla="*/ 3410 h 6476"/>
                <a:gd name="T6" fmla="*/ 7195 w 7391"/>
                <a:gd name="T7" fmla="*/ 3485 h 6476"/>
                <a:gd name="T8" fmla="*/ 6775 w 7391"/>
                <a:gd name="T9" fmla="*/ 3755 h 6476"/>
                <a:gd name="T10" fmla="*/ 6565 w 7391"/>
                <a:gd name="T11" fmla="*/ 3957 h 6476"/>
                <a:gd name="T12" fmla="*/ 6363 w 7391"/>
                <a:gd name="T13" fmla="*/ 3987 h 6476"/>
                <a:gd name="T14" fmla="*/ 6176 w 7391"/>
                <a:gd name="T15" fmla="*/ 4047 h 6476"/>
                <a:gd name="T16" fmla="*/ 5794 w 7391"/>
                <a:gd name="T17" fmla="*/ 4077 h 6476"/>
                <a:gd name="T18" fmla="*/ 5389 w 7391"/>
                <a:gd name="T19" fmla="*/ 4115 h 6476"/>
                <a:gd name="T20" fmla="*/ 4962 w 7391"/>
                <a:gd name="T21" fmla="*/ 4482 h 6476"/>
                <a:gd name="T22" fmla="*/ 4632 w 7391"/>
                <a:gd name="T23" fmla="*/ 4901 h 6476"/>
                <a:gd name="T24" fmla="*/ 4542 w 7391"/>
                <a:gd name="T25" fmla="*/ 5441 h 6476"/>
                <a:gd name="T26" fmla="*/ 4227 w 7391"/>
                <a:gd name="T27" fmla="*/ 5441 h 6476"/>
                <a:gd name="T28" fmla="*/ 3718 w 7391"/>
                <a:gd name="T29" fmla="*/ 5194 h 6476"/>
                <a:gd name="T30" fmla="*/ 3065 w 7391"/>
                <a:gd name="T31" fmla="*/ 4789 h 6476"/>
                <a:gd name="T32" fmla="*/ 2488 w 7391"/>
                <a:gd name="T33" fmla="*/ 4609 h 6476"/>
                <a:gd name="T34" fmla="*/ 2159 w 7391"/>
                <a:gd name="T35" fmla="*/ 4849 h 6476"/>
                <a:gd name="T36" fmla="*/ 1844 w 7391"/>
                <a:gd name="T37" fmla="*/ 4999 h 6476"/>
                <a:gd name="T38" fmla="*/ 1574 w 7391"/>
                <a:gd name="T39" fmla="*/ 4654 h 6476"/>
                <a:gd name="T40" fmla="*/ 1125 w 7391"/>
                <a:gd name="T41" fmla="*/ 4946 h 6476"/>
                <a:gd name="T42" fmla="*/ 1432 w 7391"/>
                <a:gd name="T43" fmla="*/ 5396 h 6476"/>
                <a:gd name="T44" fmla="*/ 1852 w 7391"/>
                <a:gd name="T45" fmla="*/ 5666 h 6476"/>
                <a:gd name="T46" fmla="*/ 1994 w 7391"/>
                <a:gd name="T47" fmla="*/ 5935 h 6476"/>
                <a:gd name="T48" fmla="*/ 1604 w 7391"/>
                <a:gd name="T49" fmla="*/ 5913 h 6476"/>
                <a:gd name="T50" fmla="*/ 1424 w 7391"/>
                <a:gd name="T51" fmla="*/ 5973 h 6476"/>
                <a:gd name="T52" fmla="*/ 1259 w 7391"/>
                <a:gd name="T53" fmla="*/ 6280 h 6476"/>
                <a:gd name="T54" fmla="*/ 862 w 7391"/>
                <a:gd name="T55" fmla="*/ 6438 h 6476"/>
                <a:gd name="T56" fmla="*/ 847 w 7391"/>
                <a:gd name="T57" fmla="*/ 5935 h 6476"/>
                <a:gd name="T58" fmla="*/ 870 w 7391"/>
                <a:gd name="T59" fmla="*/ 5508 h 6476"/>
                <a:gd name="T60" fmla="*/ 510 w 7391"/>
                <a:gd name="T61" fmla="*/ 5081 h 6476"/>
                <a:gd name="T62" fmla="*/ 780 w 7391"/>
                <a:gd name="T63" fmla="*/ 4489 h 6476"/>
                <a:gd name="T64" fmla="*/ 1005 w 7391"/>
                <a:gd name="T65" fmla="*/ 4309 h 6476"/>
                <a:gd name="T66" fmla="*/ 1215 w 7391"/>
                <a:gd name="T67" fmla="*/ 4130 h 6476"/>
                <a:gd name="T68" fmla="*/ 1222 w 7391"/>
                <a:gd name="T69" fmla="*/ 3762 h 6476"/>
                <a:gd name="T70" fmla="*/ 1312 w 7391"/>
                <a:gd name="T71" fmla="*/ 3433 h 6476"/>
                <a:gd name="T72" fmla="*/ 1612 w 7391"/>
                <a:gd name="T73" fmla="*/ 3650 h 6476"/>
                <a:gd name="T74" fmla="*/ 1957 w 7391"/>
                <a:gd name="T75" fmla="*/ 3717 h 6476"/>
                <a:gd name="T76" fmla="*/ 2384 w 7391"/>
                <a:gd name="T77" fmla="*/ 3530 h 6476"/>
                <a:gd name="T78" fmla="*/ 2346 w 7391"/>
                <a:gd name="T79" fmla="*/ 3103 h 6476"/>
                <a:gd name="T80" fmla="*/ 2354 w 7391"/>
                <a:gd name="T81" fmla="*/ 2751 h 6476"/>
                <a:gd name="T82" fmla="*/ 2653 w 7391"/>
                <a:gd name="T83" fmla="*/ 2226 h 6476"/>
                <a:gd name="T84" fmla="*/ 2773 w 7391"/>
                <a:gd name="T85" fmla="*/ 1672 h 6476"/>
                <a:gd name="T86" fmla="*/ 2676 w 7391"/>
                <a:gd name="T87" fmla="*/ 795 h 6476"/>
                <a:gd name="T88" fmla="*/ 2646 w 7391"/>
                <a:gd name="T89" fmla="*/ 308 h 6476"/>
                <a:gd name="T90" fmla="*/ 2803 w 7391"/>
                <a:gd name="T91" fmla="*/ 188 h 6476"/>
                <a:gd name="T92" fmla="*/ 3148 w 7391"/>
                <a:gd name="T93" fmla="*/ 225 h 6476"/>
                <a:gd name="T94" fmla="*/ 3620 w 7391"/>
                <a:gd name="T95" fmla="*/ 772 h 6476"/>
                <a:gd name="T96" fmla="*/ 3927 w 7391"/>
                <a:gd name="T97" fmla="*/ 1274 h 6476"/>
                <a:gd name="T98" fmla="*/ 4347 w 7391"/>
                <a:gd name="T99" fmla="*/ 1679 h 6476"/>
                <a:gd name="T100" fmla="*/ 4714 w 7391"/>
                <a:gd name="T101" fmla="*/ 1986 h 6476"/>
                <a:gd name="T102" fmla="*/ 5007 w 7391"/>
                <a:gd name="T103" fmla="*/ 2226 h 6476"/>
                <a:gd name="T104" fmla="*/ 5299 w 7391"/>
                <a:gd name="T105" fmla="*/ 2234 h 6476"/>
                <a:gd name="T106" fmla="*/ 5629 w 7391"/>
                <a:gd name="T107" fmla="*/ 2354 h 6476"/>
                <a:gd name="T108" fmla="*/ 6401 w 7391"/>
                <a:gd name="T109" fmla="*/ 2398 h 6476"/>
                <a:gd name="T110" fmla="*/ 6828 w 7391"/>
                <a:gd name="T111" fmla="*/ 2159 h 6476"/>
                <a:gd name="T112" fmla="*/ 6625 w 7391"/>
                <a:gd name="T113" fmla="*/ 2983 h 6476"/>
                <a:gd name="T114" fmla="*/ 1911 w 7391"/>
                <a:gd name="T115" fmla="*/ 263 h 6476"/>
                <a:gd name="T116" fmla="*/ 1971 w 7391"/>
                <a:gd name="T117" fmla="*/ 128 h 6476"/>
                <a:gd name="T118" fmla="*/ 2196 w 7391"/>
                <a:gd name="T119" fmla="*/ 682 h 6476"/>
                <a:gd name="T120" fmla="*/ 2121 w 7391"/>
                <a:gd name="T121" fmla="*/ 435 h 6476"/>
                <a:gd name="T122" fmla="*/ 113 w 7391"/>
                <a:gd name="T123" fmla="*/ 5321 h 6476"/>
                <a:gd name="T124" fmla="*/ 263 w 7391"/>
                <a:gd name="T125" fmla="*/ 5224 h 6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91" h="6476">
                  <a:moveTo>
                    <a:pt x="6783" y="3380"/>
                  </a:moveTo>
                  <a:lnTo>
                    <a:pt x="6783" y="3380"/>
                  </a:lnTo>
                  <a:cubicBezTo>
                    <a:pt x="6790" y="3410"/>
                    <a:pt x="6790" y="3433"/>
                    <a:pt x="6813" y="3455"/>
                  </a:cubicBezTo>
                  <a:cubicBezTo>
                    <a:pt x="6820" y="3463"/>
                    <a:pt x="6835" y="3463"/>
                    <a:pt x="6843" y="3470"/>
                  </a:cubicBezTo>
                  <a:cubicBezTo>
                    <a:pt x="6858" y="3485"/>
                    <a:pt x="6865" y="3493"/>
                    <a:pt x="6865" y="3515"/>
                  </a:cubicBezTo>
                  <a:cubicBezTo>
                    <a:pt x="6850" y="3507"/>
                    <a:pt x="6843" y="3507"/>
                    <a:pt x="6835" y="3493"/>
                  </a:cubicBezTo>
                  <a:cubicBezTo>
                    <a:pt x="6828" y="3485"/>
                    <a:pt x="6828" y="3485"/>
                    <a:pt x="6820" y="3477"/>
                  </a:cubicBezTo>
                  <a:cubicBezTo>
                    <a:pt x="6820" y="3470"/>
                    <a:pt x="6813" y="3470"/>
                    <a:pt x="6805" y="3470"/>
                  </a:cubicBezTo>
                  <a:cubicBezTo>
                    <a:pt x="6798" y="3470"/>
                    <a:pt x="6798" y="3463"/>
                    <a:pt x="6783" y="3463"/>
                  </a:cubicBezTo>
                  <a:cubicBezTo>
                    <a:pt x="6775" y="3470"/>
                    <a:pt x="6768" y="3470"/>
                    <a:pt x="6753" y="3470"/>
                  </a:cubicBezTo>
                  <a:lnTo>
                    <a:pt x="6753" y="3470"/>
                  </a:lnTo>
                  <a:cubicBezTo>
                    <a:pt x="6753" y="3477"/>
                    <a:pt x="6760" y="3477"/>
                    <a:pt x="6760" y="3485"/>
                  </a:cubicBezTo>
                  <a:cubicBezTo>
                    <a:pt x="6768" y="3493"/>
                    <a:pt x="6760" y="3500"/>
                    <a:pt x="6768" y="3507"/>
                  </a:cubicBezTo>
                  <a:cubicBezTo>
                    <a:pt x="6775" y="3507"/>
                    <a:pt x="6783" y="3507"/>
                    <a:pt x="6790" y="3507"/>
                  </a:cubicBezTo>
                  <a:lnTo>
                    <a:pt x="6790" y="3507"/>
                  </a:lnTo>
                  <a:cubicBezTo>
                    <a:pt x="6805" y="3515"/>
                    <a:pt x="6813" y="3515"/>
                    <a:pt x="6820" y="3515"/>
                  </a:cubicBezTo>
                  <a:cubicBezTo>
                    <a:pt x="6835" y="3523"/>
                    <a:pt x="6843" y="3530"/>
                    <a:pt x="6850" y="3537"/>
                  </a:cubicBezTo>
                  <a:cubicBezTo>
                    <a:pt x="6835" y="3537"/>
                    <a:pt x="6828" y="3537"/>
                    <a:pt x="6820" y="3553"/>
                  </a:cubicBezTo>
                  <a:cubicBezTo>
                    <a:pt x="6820" y="3560"/>
                    <a:pt x="6820" y="3560"/>
                    <a:pt x="6820" y="3560"/>
                  </a:cubicBezTo>
                  <a:cubicBezTo>
                    <a:pt x="6835" y="3560"/>
                    <a:pt x="6843" y="3560"/>
                    <a:pt x="6858" y="3567"/>
                  </a:cubicBezTo>
                  <a:cubicBezTo>
                    <a:pt x="6873" y="3575"/>
                    <a:pt x="6873" y="3590"/>
                    <a:pt x="6888" y="3590"/>
                  </a:cubicBezTo>
                  <a:cubicBezTo>
                    <a:pt x="6903" y="3597"/>
                    <a:pt x="6918" y="3590"/>
                    <a:pt x="6940" y="3590"/>
                  </a:cubicBezTo>
                  <a:cubicBezTo>
                    <a:pt x="6948" y="3590"/>
                    <a:pt x="6948" y="3597"/>
                    <a:pt x="6955" y="3597"/>
                  </a:cubicBezTo>
                  <a:cubicBezTo>
                    <a:pt x="6970" y="3597"/>
                    <a:pt x="6970" y="3597"/>
                    <a:pt x="6970" y="3597"/>
                  </a:cubicBezTo>
                  <a:cubicBezTo>
                    <a:pt x="6970" y="3590"/>
                    <a:pt x="6970" y="3590"/>
                    <a:pt x="6970" y="3590"/>
                  </a:cubicBezTo>
                  <a:cubicBezTo>
                    <a:pt x="6948" y="3583"/>
                    <a:pt x="6940" y="3567"/>
                    <a:pt x="6925" y="3560"/>
                  </a:cubicBezTo>
                  <a:cubicBezTo>
                    <a:pt x="6865" y="3523"/>
                    <a:pt x="6940" y="3560"/>
                    <a:pt x="6955" y="3567"/>
                  </a:cubicBezTo>
                  <a:cubicBezTo>
                    <a:pt x="6963" y="3567"/>
                    <a:pt x="6963" y="3567"/>
                    <a:pt x="6970" y="3575"/>
                  </a:cubicBezTo>
                  <a:cubicBezTo>
                    <a:pt x="6978" y="3575"/>
                    <a:pt x="6985" y="3575"/>
                    <a:pt x="6993" y="3575"/>
                  </a:cubicBezTo>
                  <a:cubicBezTo>
                    <a:pt x="7000" y="3575"/>
                    <a:pt x="7007" y="3583"/>
                    <a:pt x="7023" y="3583"/>
                  </a:cubicBezTo>
                  <a:cubicBezTo>
                    <a:pt x="7030" y="3583"/>
                    <a:pt x="7037" y="3575"/>
                    <a:pt x="7045" y="3567"/>
                  </a:cubicBezTo>
                  <a:cubicBezTo>
                    <a:pt x="7053" y="3560"/>
                    <a:pt x="7067" y="3553"/>
                    <a:pt x="7075" y="3537"/>
                  </a:cubicBezTo>
                  <a:cubicBezTo>
                    <a:pt x="7082" y="3530"/>
                    <a:pt x="7082" y="3523"/>
                    <a:pt x="7090" y="3515"/>
                  </a:cubicBezTo>
                  <a:cubicBezTo>
                    <a:pt x="7097" y="3507"/>
                    <a:pt x="7113" y="3500"/>
                    <a:pt x="7120" y="3493"/>
                  </a:cubicBezTo>
                  <a:cubicBezTo>
                    <a:pt x="7135" y="3477"/>
                    <a:pt x="7143" y="3477"/>
                    <a:pt x="7157" y="3463"/>
                  </a:cubicBezTo>
                  <a:cubicBezTo>
                    <a:pt x="7165" y="3455"/>
                    <a:pt x="7165" y="3448"/>
                    <a:pt x="7172" y="3440"/>
                  </a:cubicBezTo>
                  <a:cubicBezTo>
                    <a:pt x="7195" y="3425"/>
                    <a:pt x="7210" y="3418"/>
                    <a:pt x="7217" y="3395"/>
                  </a:cubicBezTo>
                  <a:cubicBezTo>
                    <a:pt x="7225" y="3395"/>
                    <a:pt x="7225" y="3395"/>
                    <a:pt x="7225" y="3395"/>
                  </a:cubicBezTo>
                  <a:cubicBezTo>
                    <a:pt x="7232" y="3403"/>
                    <a:pt x="7232" y="3410"/>
                    <a:pt x="7240" y="3410"/>
                  </a:cubicBezTo>
                  <a:cubicBezTo>
                    <a:pt x="7247" y="3425"/>
                    <a:pt x="7262" y="3425"/>
                    <a:pt x="7277" y="3425"/>
                  </a:cubicBezTo>
                  <a:cubicBezTo>
                    <a:pt x="7367" y="3403"/>
                    <a:pt x="7367" y="3403"/>
                    <a:pt x="7367" y="3403"/>
                  </a:cubicBezTo>
                  <a:cubicBezTo>
                    <a:pt x="7375" y="3410"/>
                    <a:pt x="7382" y="3410"/>
                    <a:pt x="7382" y="3410"/>
                  </a:cubicBezTo>
                  <a:cubicBezTo>
                    <a:pt x="7390" y="3425"/>
                    <a:pt x="7390" y="3433"/>
                    <a:pt x="7390" y="3448"/>
                  </a:cubicBezTo>
                  <a:cubicBezTo>
                    <a:pt x="7390" y="3455"/>
                    <a:pt x="7382" y="3455"/>
                    <a:pt x="7375" y="3463"/>
                  </a:cubicBezTo>
                  <a:cubicBezTo>
                    <a:pt x="7367" y="3470"/>
                    <a:pt x="7367" y="3470"/>
                    <a:pt x="7352" y="3470"/>
                  </a:cubicBezTo>
                  <a:cubicBezTo>
                    <a:pt x="7337" y="3477"/>
                    <a:pt x="7330" y="3485"/>
                    <a:pt x="7315" y="3493"/>
                  </a:cubicBezTo>
                  <a:cubicBezTo>
                    <a:pt x="7300" y="3493"/>
                    <a:pt x="7292" y="3500"/>
                    <a:pt x="7285" y="3507"/>
                  </a:cubicBezTo>
                  <a:cubicBezTo>
                    <a:pt x="7270" y="3515"/>
                    <a:pt x="7262" y="3530"/>
                    <a:pt x="7240" y="3530"/>
                  </a:cubicBezTo>
                  <a:cubicBezTo>
                    <a:pt x="7232" y="3530"/>
                    <a:pt x="7225" y="3523"/>
                    <a:pt x="7217" y="3523"/>
                  </a:cubicBezTo>
                  <a:cubicBezTo>
                    <a:pt x="7210" y="3523"/>
                    <a:pt x="7210" y="3523"/>
                    <a:pt x="7210" y="3523"/>
                  </a:cubicBezTo>
                  <a:cubicBezTo>
                    <a:pt x="7210" y="3515"/>
                    <a:pt x="7202" y="3515"/>
                    <a:pt x="7202" y="3507"/>
                  </a:cubicBezTo>
                  <a:cubicBezTo>
                    <a:pt x="7202" y="3500"/>
                    <a:pt x="7195" y="3493"/>
                    <a:pt x="7195" y="3485"/>
                  </a:cubicBezTo>
                  <a:cubicBezTo>
                    <a:pt x="7172" y="3507"/>
                    <a:pt x="7172" y="3530"/>
                    <a:pt x="7157" y="3553"/>
                  </a:cubicBezTo>
                  <a:cubicBezTo>
                    <a:pt x="7143" y="3567"/>
                    <a:pt x="7127" y="3567"/>
                    <a:pt x="7120" y="3575"/>
                  </a:cubicBezTo>
                  <a:cubicBezTo>
                    <a:pt x="7113" y="3583"/>
                    <a:pt x="7105" y="3590"/>
                    <a:pt x="7105" y="3605"/>
                  </a:cubicBezTo>
                  <a:cubicBezTo>
                    <a:pt x="7105" y="3613"/>
                    <a:pt x="7097" y="3613"/>
                    <a:pt x="7097" y="3620"/>
                  </a:cubicBezTo>
                  <a:cubicBezTo>
                    <a:pt x="7090" y="3642"/>
                    <a:pt x="7097" y="3657"/>
                    <a:pt x="7090" y="3672"/>
                  </a:cubicBezTo>
                  <a:cubicBezTo>
                    <a:pt x="7090" y="3687"/>
                    <a:pt x="7082" y="3695"/>
                    <a:pt x="7075" y="3702"/>
                  </a:cubicBezTo>
                  <a:cubicBezTo>
                    <a:pt x="7067" y="3717"/>
                    <a:pt x="7067" y="3725"/>
                    <a:pt x="7060" y="3740"/>
                  </a:cubicBezTo>
                  <a:cubicBezTo>
                    <a:pt x="7053" y="3740"/>
                    <a:pt x="7053" y="3740"/>
                    <a:pt x="7053" y="3740"/>
                  </a:cubicBezTo>
                  <a:cubicBezTo>
                    <a:pt x="7045" y="3740"/>
                    <a:pt x="7045" y="3732"/>
                    <a:pt x="7037" y="3725"/>
                  </a:cubicBezTo>
                  <a:cubicBezTo>
                    <a:pt x="7030" y="3725"/>
                    <a:pt x="7023" y="3717"/>
                    <a:pt x="7015" y="3717"/>
                  </a:cubicBezTo>
                  <a:cubicBezTo>
                    <a:pt x="6993" y="3717"/>
                    <a:pt x="6978" y="3725"/>
                    <a:pt x="6963" y="3725"/>
                  </a:cubicBezTo>
                  <a:cubicBezTo>
                    <a:pt x="6918" y="3725"/>
                    <a:pt x="6895" y="3732"/>
                    <a:pt x="6850" y="3740"/>
                  </a:cubicBezTo>
                  <a:cubicBezTo>
                    <a:pt x="6820" y="3747"/>
                    <a:pt x="6798" y="3740"/>
                    <a:pt x="6775" y="3755"/>
                  </a:cubicBezTo>
                  <a:cubicBezTo>
                    <a:pt x="6760" y="3770"/>
                    <a:pt x="6745" y="3770"/>
                    <a:pt x="6738" y="3785"/>
                  </a:cubicBezTo>
                  <a:cubicBezTo>
                    <a:pt x="6730" y="3785"/>
                    <a:pt x="6723" y="3792"/>
                    <a:pt x="6715" y="3792"/>
                  </a:cubicBezTo>
                  <a:cubicBezTo>
                    <a:pt x="6708" y="3800"/>
                    <a:pt x="6700" y="3815"/>
                    <a:pt x="6693" y="3815"/>
                  </a:cubicBezTo>
                  <a:cubicBezTo>
                    <a:pt x="6678" y="3815"/>
                    <a:pt x="6678" y="3792"/>
                    <a:pt x="6670" y="3777"/>
                  </a:cubicBezTo>
                  <a:cubicBezTo>
                    <a:pt x="6655" y="3785"/>
                    <a:pt x="6648" y="3785"/>
                    <a:pt x="6640" y="3792"/>
                  </a:cubicBezTo>
                  <a:cubicBezTo>
                    <a:pt x="6625" y="3800"/>
                    <a:pt x="6618" y="3800"/>
                    <a:pt x="6610" y="3807"/>
                  </a:cubicBezTo>
                  <a:cubicBezTo>
                    <a:pt x="6603" y="3822"/>
                    <a:pt x="6603" y="3830"/>
                    <a:pt x="6603" y="3852"/>
                  </a:cubicBezTo>
                  <a:cubicBezTo>
                    <a:pt x="6603" y="3860"/>
                    <a:pt x="6603" y="3875"/>
                    <a:pt x="6610" y="3882"/>
                  </a:cubicBezTo>
                  <a:cubicBezTo>
                    <a:pt x="6618" y="3890"/>
                    <a:pt x="6625" y="3890"/>
                    <a:pt x="6640" y="3897"/>
                  </a:cubicBezTo>
                  <a:cubicBezTo>
                    <a:pt x="6633" y="3897"/>
                    <a:pt x="6625" y="3905"/>
                    <a:pt x="6618" y="3905"/>
                  </a:cubicBezTo>
                  <a:cubicBezTo>
                    <a:pt x="6588" y="3905"/>
                    <a:pt x="6588" y="3905"/>
                    <a:pt x="6588" y="3905"/>
                  </a:cubicBezTo>
                  <a:cubicBezTo>
                    <a:pt x="6580" y="3912"/>
                    <a:pt x="6580" y="3912"/>
                    <a:pt x="6580" y="3920"/>
                  </a:cubicBezTo>
                  <a:cubicBezTo>
                    <a:pt x="6573" y="3935"/>
                    <a:pt x="6580" y="3950"/>
                    <a:pt x="6565" y="3957"/>
                  </a:cubicBezTo>
                  <a:cubicBezTo>
                    <a:pt x="6543" y="3965"/>
                    <a:pt x="6535" y="3965"/>
                    <a:pt x="6513" y="3972"/>
                  </a:cubicBezTo>
                  <a:cubicBezTo>
                    <a:pt x="6505" y="3980"/>
                    <a:pt x="6505" y="3995"/>
                    <a:pt x="6498" y="4002"/>
                  </a:cubicBezTo>
                  <a:cubicBezTo>
                    <a:pt x="6498" y="4010"/>
                    <a:pt x="6490" y="4017"/>
                    <a:pt x="6483" y="4025"/>
                  </a:cubicBezTo>
                  <a:cubicBezTo>
                    <a:pt x="6460" y="4032"/>
                    <a:pt x="6445" y="4040"/>
                    <a:pt x="6423" y="4040"/>
                  </a:cubicBezTo>
                  <a:cubicBezTo>
                    <a:pt x="6401" y="4040"/>
                    <a:pt x="6385" y="4025"/>
                    <a:pt x="6355" y="4025"/>
                  </a:cubicBezTo>
                  <a:cubicBezTo>
                    <a:pt x="6341" y="4025"/>
                    <a:pt x="6333" y="4017"/>
                    <a:pt x="6325" y="4010"/>
                  </a:cubicBezTo>
                  <a:cubicBezTo>
                    <a:pt x="6311" y="4002"/>
                    <a:pt x="6311" y="4002"/>
                    <a:pt x="6295" y="3995"/>
                  </a:cubicBezTo>
                  <a:cubicBezTo>
                    <a:pt x="6295" y="3987"/>
                    <a:pt x="6288" y="3987"/>
                    <a:pt x="6288" y="3980"/>
                  </a:cubicBezTo>
                  <a:cubicBezTo>
                    <a:pt x="6288" y="3972"/>
                    <a:pt x="6295" y="3972"/>
                    <a:pt x="6295" y="3965"/>
                  </a:cubicBezTo>
                  <a:cubicBezTo>
                    <a:pt x="6295" y="3957"/>
                    <a:pt x="6303" y="3957"/>
                    <a:pt x="6303" y="3950"/>
                  </a:cubicBezTo>
                  <a:cubicBezTo>
                    <a:pt x="6311" y="3957"/>
                    <a:pt x="6318" y="3957"/>
                    <a:pt x="6325" y="3965"/>
                  </a:cubicBezTo>
                  <a:cubicBezTo>
                    <a:pt x="6341" y="3972"/>
                    <a:pt x="6341" y="3995"/>
                    <a:pt x="6355" y="3995"/>
                  </a:cubicBezTo>
                  <a:lnTo>
                    <a:pt x="6363" y="3987"/>
                  </a:lnTo>
                  <a:cubicBezTo>
                    <a:pt x="6371" y="3987"/>
                    <a:pt x="6378" y="3980"/>
                    <a:pt x="6385" y="3980"/>
                  </a:cubicBezTo>
                  <a:cubicBezTo>
                    <a:pt x="6393" y="3965"/>
                    <a:pt x="6401" y="3965"/>
                    <a:pt x="6408" y="3957"/>
                  </a:cubicBezTo>
                  <a:cubicBezTo>
                    <a:pt x="6415" y="3950"/>
                    <a:pt x="6423" y="3950"/>
                    <a:pt x="6423" y="3942"/>
                  </a:cubicBezTo>
                  <a:cubicBezTo>
                    <a:pt x="6423" y="3927"/>
                    <a:pt x="6415" y="3927"/>
                    <a:pt x="6408" y="3920"/>
                  </a:cubicBezTo>
                  <a:cubicBezTo>
                    <a:pt x="6393" y="3912"/>
                    <a:pt x="6385" y="3912"/>
                    <a:pt x="6378" y="3912"/>
                  </a:cubicBezTo>
                  <a:cubicBezTo>
                    <a:pt x="6341" y="3912"/>
                    <a:pt x="6341" y="3912"/>
                    <a:pt x="6341" y="3912"/>
                  </a:cubicBezTo>
                  <a:cubicBezTo>
                    <a:pt x="6325" y="3912"/>
                    <a:pt x="6318" y="3897"/>
                    <a:pt x="6311" y="3890"/>
                  </a:cubicBezTo>
                  <a:cubicBezTo>
                    <a:pt x="6295" y="3905"/>
                    <a:pt x="6295" y="3920"/>
                    <a:pt x="6273" y="3927"/>
                  </a:cubicBezTo>
                  <a:cubicBezTo>
                    <a:pt x="6266" y="3927"/>
                    <a:pt x="6266" y="3935"/>
                    <a:pt x="6258" y="3935"/>
                  </a:cubicBezTo>
                  <a:cubicBezTo>
                    <a:pt x="6251" y="3935"/>
                    <a:pt x="6243" y="3927"/>
                    <a:pt x="6228" y="3935"/>
                  </a:cubicBezTo>
                  <a:cubicBezTo>
                    <a:pt x="6206" y="3935"/>
                    <a:pt x="6191" y="3950"/>
                    <a:pt x="6176" y="3972"/>
                  </a:cubicBezTo>
                  <a:cubicBezTo>
                    <a:pt x="6168" y="3980"/>
                    <a:pt x="6161" y="3987"/>
                    <a:pt x="6161" y="4002"/>
                  </a:cubicBezTo>
                  <a:cubicBezTo>
                    <a:pt x="6161" y="4025"/>
                    <a:pt x="6168" y="4032"/>
                    <a:pt x="6176" y="4047"/>
                  </a:cubicBezTo>
                  <a:cubicBezTo>
                    <a:pt x="6183" y="4062"/>
                    <a:pt x="6183" y="4070"/>
                    <a:pt x="6191" y="4085"/>
                  </a:cubicBezTo>
                  <a:cubicBezTo>
                    <a:pt x="6198" y="4092"/>
                    <a:pt x="6206" y="4092"/>
                    <a:pt x="6213" y="4100"/>
                  </a:cubicBezTo>
                  <a:cubicBezTo>
                    <a:pt x="6213" y="4107"/>
                    <a:pt x="6213" y="4107"/>
                    <a:pt x="6213" y="4107"/>
                  </a:cubicBezTo>
                  <a:lnTo>
                    <a:pt x="6213" y="4115"/>
                  </a:lnTo>
                  <a:cubicBezTo>
                    <a:pt x="6183" y="4115"/>
                    <a:pt x="6168" y="4115"/>
                    <a:pt x="6138" y="4115"/>
                  </a:cubicBezTo>
                  <a:cubicBezTo>
                    <a:pt x="6131" y="4115"/>
                    <a:pt x="6123" y="4115"/>
                    <a:pt x="6123" y="4115"/>
                  </a:cubicBezTo>
                  <a:cubicBezTo>
                    <a:pt x="6108" y="4115"/>
                    <a:pt x="6108" y="4115"/>
                    <a:pt x="6093" y="4107"/>
                  </a:cubicBezTo>
                  <a:cubicBezTo>
                    <a:pt x="6093" y="4107"/>
                    <a:pt x="6093" y="4100"/>
                    <a:pt x="6086" y="4100"/>
                  </a:cubicBezTo>
                  <a:cubicBezTo>
                    <a:pt x="5988" y="4100"/>
                    <a:pt x="5988" y="4100"/>
                    <a:pt x="5988" y="4100"/>
                  </a:cubicBezTo>
                  <a:cubicBezTo>
                    <a:pt x="5966" y="4100"/>
                    <a:pt x="5951" y="4092"/>
                    <a:pt x="5928" y="4092"/>
                  </a:cubicBezTo>
                  <a:cubicBezTo>
                    <a:pt x="5913" y="4092"/>
                    <a:pt x="5906" y="4107"/>
                    <a:pt x="5884" y="4107"/>
                  </a:cubicBezTo>
                  <a:cubicBezTo>
                    <a:pt x="5861" y="4107"/>
                    <a:pt x="5846" y="4100"/>
                    <a:pt x="5823" y="4092"/>
                  </a:cubicBezTo>
                  <a:cubicBezTo>
                    <a:pt x="5808" y="4085"/>
                    <a:pt x="5801" y="4085"/>
                    <a:pt x="5794" y="4077"/>
                  </a:cubicBezTo>
                  <a:cubicBezTo>
                    <a:pt x="5778" y="4077"/>
                    <a:pt x="5778" y="4070"/>
                    <a:pt x="5764" y="4070"/>
                  </a:cubicBezTo>
                  <a:cubicBezTo>
                    <a:pt x="5764" y="4062"/>
                    <a:pt x="5756" y="4062"/>
                    <a:pt x="5756" y="4055"/>
                  </a:cubicBezTo>
                  <a:cubicBezTo>
                    <a:pt x="5756" y="4047"/>
                    <a:pt x="5756" y="4047"/>
                    <a:pt x="5756" y="4040"/>
                  </a:cubicBezTo>
                  <a:cubicBezTo>
                    <a:pt x="5756" y="4040"/>
                    <a:pt x="5748" y="4040"/>
                    <a:pt x="5748" y="4032"/>
                  </a:cubicBezTo>
                  <a:cubicBezTo>
                    <a:pt x="5741" y="4032"/>
                    <a:pt x="5734" y="4032"/>
                    <a:pt x="5726" y="4025"/>
                  </a:cubicBezTo>
                  <a:cubicBezTo>
                    <a:pt x="5711" y="4025"/>
                    <a:pt x="5711" y="4017"/>
                    <a:pt x="5696" y="4017"/>
                  </a:cubicBezTo>
                  <a:cubicBezTo>
                    <a:pt x="5659" y="4017"/>
                    <a:pt x="5659" y="4017"/>
                    <a:pt x="5659" y="4017"/>
                  </a:cubicBezTo>
                  <a:cubicBezTo>
                    <a:pt x="5651" y="4017"/>
                    <a:pt x="5644" y="4017"/>
                    <a:pt x="5636" y="4017"/>
                  </a:cubicBezTo>
                  <a:cubicBezTo>
                    <a:pt x="5606" y="4025"/>
                    <a:pt x="5583" y="4032"/>
                    <a:pt x="5554" y="4040"/>
                  </a:cubicBezTo>
                  <a:cubicBezTo>
                    <a:pt x="5531" y="4047"/>
                    <a:pt x="5516" y="4055"/>
                    <a:pt x="5494" y="4070"/>
                  </a:cubicBezTo>
                  <a:cubicBezTo>
                    <a:pt x="5471" y="4077"/>
                    <a:pt x="5464" y="4077"/>
                    <a:pt x="5449" y="4085"/>
                  </a:cubicBezTo>
                  <a:cubicBezTo>
                    <a:pt x="5434" y="4092"/>
                    <a:pt x="5434" y="4100"/>
                    <a:pt x="5419" y="4100"/>
                  </a:cubicBezTo>
                  <a:cubicBezTo>
                    <a:pt x="5411" y="4107"/>
                    <a:pt x="5404" y="4115"/>
                    <a:pt x="5389" y="4115"/>
                  </a:cubicBezTo>
                  <a:cubicBezTo>
                    <a:pt x="5381" y="4122"/>
                    <a:pt x="5381" y="4122"/>
                    <a:pt x="5366" y="4130"/>
                  </a:cubicBezTo>
                  <a:cubicBezTo>
                    <a:pt x="5351" y="4137"/>
                    <a:pt x="5336" y="4144"/>
                    <a:pt x="5321" y="4152"/>
                  </a:cubicBezTo>
                  <a:cubicBezTo>
                    <a:pt x="5314" y="4159"/>
                    <a:pt x="5306" y="4159"/>
                    <a:pt x="5291" y="4167"/>
                  </a:cubicBezTo>
                  <a:cubicBezTo>
                    <a:pt x="5269" y="4182"/>
                    <a:pt x="5254" y="4197"/>
                    <a:pt x="5231" y="4219"/>
                  </a:cubicBezTo>
                  <a:cubicBezTo>
                    <a:pt x="5216" y="4242"/>
                    <a:pt x="5201" y="4249"/>
                    <a:pt x="5179" y="4272"/>
                  </a:cubicBezTo>
                  <a:cubicBezTo>
                    <a:pt x="5179" y="4272"/>
                    <a:pt x="5179" y="4272"/>
                    <a:pt x="5171" y="4279"/>
                  </a:cubicBezTo>
                  <a:cubicBezTo>
                    <a:pt x="5164" y="4295"/>
                    <a:pt x="5149" y="4295"/>
                    <a:pt x="5142" y="4309"/>
                  </a:cubicBezTo>
                  <a:cubicBezTo>
                    <a:pt x="5134" y="4317"/>
                    <a:pt x="5126" y="4324"/>
                    <a:pt x="5119" y="4332"/>
                  </a:cubicBezTo>
                  <a:cubicBezTo>
                    <a:pt x="5112" y="4339"/>
                    <a:pt x="5104" y="4347"/>
                    <a:pt x="5096" y="4354"/>
                  </a:cubicBezTo>
                  <a:cubicBezTo>
                    <a:pt x="5029" y="4422"/>
                    <a:pt x="5029" y="4422"/>
                    <a:pt x="5029" y="4422"/>
                  </a:cubicBezTo>
                  <a:cubicBezTo>
                    <a:pt x="5014" y="4437"/>
                    <a:pt x="5007" y="4437"/>
                    <a:pt x="4999" y="4444"/>
                  </a:cubicBezTo>
                  <a:cubicBezTo>
                    <a:pt x="4992" y="4452"/>
                    <a:pt x="4984" y="4459"/>
                    <a:pt x="4977" y="4467"/>
                  </a:cubicBezTo>
                  <a:cubicBezTo>
                    <a:pt x="4977" y="4474"/>
                    <a:pt x="4969" y="4474"/>
                    <a:pt x="4962" y="4482"/>
                  </a:cubicBezTo>
                  <a:cubicBezTo>
                    <a:pt x="4954" y="4489"/>
                    <a:pt x="4954" y="4497"/>
                    <a:pt x="4939" y="4504"/>
                  </a:cubicBezTo>
                  <a:cubicBezTo>
                    <a:pt x="4924" y="4519"/>
                    <a:pt x="4917" y="4527"/>
                    <a:pt x="4902" y="4542"/>
                  </a:cubicBezTo>
                  <a:cubicBezTo>
                    <a:pt x="4887" y="4549"/>
                    <a:pt x="4879" y="4557"/>
                    <a:pt x="4864" y="4572"/>
                  </a:cubicBezTo>
                  <a:cubicBezTo>
                    <a:pt x="4857" y="4579"/>
                    <a:pt x="4857" y="4587"/>
                    <a:pt x="4849" y="4594"/>
                  </a:cubicBezTo>
                  <a:cubicBezTo>
                    <a:pt x="4834" y="4609"/>
                    <a:pt x="4827" y="4617"/>
                    <a:pt x="4819" y="4624"/>
                  </a:cubicBezTo>
                  <a:cubicBezTo>
                    <a:pt x="4804" y="4647"/>
                    <a:pt x="4797" y="4654"/>
                    <a:pt x="4789" y="4677"/>
                  </a:cubicBezTo>
                  <a:cubicBezTo>
                    <a:pt x="4774" y="4699"/>
                    <a:pt x="4774" y="4714"/>
                    <a:pt x="4759" y="4736"/>
                  </a:cubicBezTo>
                  <a:cubicBezTo>
                    <a:pt x="4752" y="4744"/>
                    <a:pt x="4744" y="4752"/>
                    <a:pt x="4737" y="4759"/>
                  </a:cubicBezTo>
                  <a:cubicBezTo>
                    <a:pt x="4722" y="4774"/>
                    <a:pt x="4722" y="4782"/>
                    <a:pt x="4714" y="4796"/>
                  </a:cubicBezTo>
                  <a:cubicBezTo>
                    <a:pt x="4699" y="4812"/>
                    <a:pt x="4692" y="4819"/>
                    <a:pt x="4677" y="4834"/>
                  </a:cubicBezTo>
                  <a:cubicBezTo>
                    <a:pt x="4669" y="4841"/>
                    <a:pt x="4662" y="4849"/>
                    <a:pt x="4654" y="4864"/>
                  </a:cubicBezTo>
                  <a:cubicBezTo>
                    <a:pt x="4654" y="4871"/>
                    <a:pt x="4647" y="4879"/>
                    <a:pt x="4647" y="4886"/>
                  </a:cubicBezTo>
                  <a:cubicBezTo>
                    <a:pt x="4639" y="4894"/>
                    <a:pt x="4639" y="4894"/>
                    <a:pt x="4632" y="4901"/>
                  </a:cubicBezTo>
                  <a:cubicBezTo>
                    <a:pt x="4632" y="4916"/>
                    <a:pt x="4624" y="4924"/>
                    <a:pt x="4617" y="4939"/>
                  </a:cubicBezTo>
                  <a:cubicBezTo>
                    <a:pt x="4602" y="4954"/>
                    <a:pt x="4602" y="4969"/>
                    <a:pt x="4587" y="4984"/>
                  </a:cubicBezTo>
                  <a:cubicBezTo>
                    <a:pt x="4587" y="4991"/>
                    <a:pt x="4579" y="4999"/>
                    <a:pt x="4579" y="5014"/>
                  </a:cubicBezTo>
                  <a:cubicBezTo>
                    <a:pt x="4572" y="5021"/>
                    <a:pt x="4572" y="5021"/>
                    <a:pt x="4564" y="5029"/>
                  </a:cubicBezTo>
                  <a:cubicBezTo>
                    <a:pt x="4557" y="5059"/>
                    <a:pt x="4549" y="5074"/>
                    <a:pt x="4542" y="5104"/>
                  </a:cubicBezTo>
                  <a:cubicBezTo>
                    <a:pt x="4542" y="5119"/>
                    <a:pt x="4535" y="5134"/>
                    <a:pt x="4535" y="5156"/>
                  </a:cubicBezTo>
                  <a:cubicBezTo>
                    <a:pt x="4535" y="5171"/>
                    <a:pt x="4535" y="5179"/>
                    <a:pt x="4542" y="5194"/>
                  </a:cubicBezTo>
                  <a:cubicBezTo>
                    <a:pt x="4542" y="5201"/>
                    <a:pt x="4542" y="5209"/>
                    <a:pt x="4549" y="5216"/>
                  </a:cubicBezTo>
                  <a:cubicBezTo>
                    <a:pt x="4557" y="5239"/>
                    <a:pt x="4564" y="5246"/>
                    <a:pt x="4564" y="5261"/>
                  </a:cubicBezTo>
                  <a:cubicBezTo>
                    <a:pt x="4564" y="5276"/>
                    <a:pt x="4557" y="5291"/>
                    <a:pt x="4557" y="5299"/>
                  </a:cubicBezTo>
                  <a:cubicBezTo>
                    <a:pt x="4557" y="5366"/>
                    <a:pt x="4557" y="5366"/>
                    <a:pt x="4557" y="5366"/>
                  </a:cubicBezTo>
                  <a:cubicBezTo>
                    <a:pt x="4557" y="5374"/>
                    <a:pt x="4557" y="5381"/>
                    <a:pt x="4549" y="5396"/>
                  </a:cubicBezTo>
                  <a:cubicBezTo>
                    <a:pt x="4549" y="5411"/>
                    <a:pt x="4542" y="5418"/>
                    <a:pt x="4542" y="5441"/>
                  </a:cubicBezTo>
                  <a:cubicBezTo>
                    <a:pt x="4542" y="5448"/>
                    <a:pt x="4542" y="5456"/>
                    <a:pt x="4542" y="5464"/>
                  </a:cubicBezTo>
                  <a:cubicBezTo>
                    <a:pt x="4542" y="5471"/>
                    <a:pt x="4542" y="5478"/>
                    <a:pt x="4542" y="5486"/>
                  </a:cubicBezTo>
                  <a:cubicBezTo>
                    <a:pt x="4535" y="5501"/>
                    <a:pt x="4527" y="5501"/>
                    <a:pt x="4512" y="5516"/>
                  </a:cubicBezTo>
                  <a:cubicBezTo>
                    <a:pt x="4505" y="5524"/>
                    <a:pt x="4497" y="5538"/>
                    <a:pt x="4489" y="5546"/>
                  </a:cubicBezTo>
                  <a:cubicBezTo>
                    <a:pt x="4482" y="5561"/>
                    <a:pt x="4482" y="5568"/>
                    <a:pt x="4482" y="5583"/>
                  </a:cubicBezTo>
                  <a:cubicBezTo>
                    <a:pt x="4475" y="5583"/>
                    <a:pt x="4475" y="5591"/>
                    <a:pt x="4475" y="5598"/>
                  </a:cubicBezTo>
                  <a:cubicBezTo>
                    <a:pt x="4475" y="5628"/>
                    <a:pt x="4475" y="5643"/>
                    <a:pt x="4467" y="5673"/>
                  </a:cubicBezTo>
                  <a:cubicBezTo>
                    <a:pt x="4445" y="5666"/>
                    <a:pt x="4437" y="5651"/>
                    <a:pt x="4422" y="5628"/>
                  </a:cubicBezTo>
                  <a:cubicBezTo>
                    <a:pt x="4415" y="5613"/>
                    <a:pt x="4407" y="5613"/>
                    <a:pt x="4400" y="5606"/>
                  </a:cubicBezTo>
                  <a:cubicBezTo>
                    <a:pt x="4385" y="5598"/>
                    <a:pt x="4385" y="5591"/>
                    <a:pt x="4385" y="5576"/>
                  </a:cubicBezTo>
                  <a:cubicBezTo>
                    <a:pt x="4370" y="5546"/>
                    <a:pt x="4355" y="5524"/>
                    <a:pt x="4324" y="5501"/>
                  </a:cubicBezTo>
                  <a:cubicBezTo>
                    <a:pt x="4310" y="5494"/>
                    <a:pt x="4302" y="5486"/>
                    <a:pt x="4295" y="5478"/>
                  </a:cubicBezTo>
                  <a:cubicBezTo>
                    <a:pt x="4265" y="5464"/>
                    <a:pt x="4250" y="5456"/>
                    <a:pt x="4227" y="5441"/>
                  </a:cubicBezTo>
                  <a:cubicBezTo>
                    <a:pt x="4212" y="5434"/>
                    <a:pt x="4205" y="5426"/>
                    <a:pt x="4190" y="5411"/>
                  </a:cubicBezTo>
                  <a:cubicBezTo>
                    <a:pt x="4182" y="5404"/>
                    <a:pt x="4175" y="5396"/>
                    <a:pt x="4167" y="5388"/>
                  </a:cubicBezTo>
                  <a:cubicBezTo>
                    <a:pt x="4152" y="5381"/>
                    <a:pt x="4145" y="5374"/>
                    <a:pt x="4130" y="5374"/>
                  </a:cubicBezTo>
                  <a:cubicBezTo>
                    <a:pt x="4100" y="5359"/>
                    <a:pt x="4085" y="5351"/>
                    <a:pt x="4055" y="5351"/>
                  </a:cubicBezTo>
                  <a:cubicBezTo>
                    <a:pt x="4032" y="5344"/>
                    <a:pt x="4017" y="5344"/>
                    <a:pt x="3987" y="5344"/>
                  </a:cubicBezTo>
                  <a:cubicBezTo>
                    <a:pt x="3965" y="5336"/>
                    <a:pt x="3950" y="5336"/>
                    <a:pt x="3935" y="5321"/>
                  </a:cubicBezTo>
                  <a:cubicBezTo>
                    <a:pt x="3927" y="5314"/>
                    <a:pt x="3927" y="5306"/>
                    <a:pt x="3920" y="5299"/>
                  </a:cubicBezTo>
                  <a:cubicBezTo>
                    <a:pt x="3912" y="5299"/>
                    <a:pt x="3905" y="5291"/>
                    <a:pt x="3897" y="5291"/>
                  </a:cubicBezTo>
                  <a:cubicBezTo>
                    <a:pt x="3867" y="5284"/>
                    <a:pt x="3853" y="5276"/>
                    <a:pt x="3823" y="5276"/>
                  </a:cubicBezTo>
                  <a:cubicBezTo>
                    <a:pt x="3807" y="5269"/>
                    <a:pt x="3800" y="5269"/>
                    <a:pt x="3785" y="5261"/>
                  </a:cubicBezTo>
                  <a:cubicBezTo>
                    <a:pt x="3777" y="5261"/>
                    <a:pt x="3777" y="5254"/>
                    <a:pt x="3777" y="5254"/>
                  </a:cubicBezTo>
                  <a:cubicBezTo>
                    <a:pt x="3770" y="5246"/>
                    <a:pt x="3763" y="5239"/>
                    <a:pt x="3755" y="5231"/>
                  </a:cubicBezTo>
                  <a:cubicBezTo>
                    <a:pt x="3747" y="5216"/>
                    <a:pt x="3740" y="5201"/>
                    <a:pt x="3718" y="5194"/>
                  </a:cubicBezTo>
                  <a:cubicBezTo>
                    <a:pt x="3695" y="5186"/>
                    <a:pt x="3680" y="5179"/>
                    <a:pt x="3665" y="5164"/>
                  </a:cubicBezTo>
                  <a:cubicBezTo>
                    <a:pt x="3643" y="5141"/>
                    <a:pt x="3628" y="5141"/>
                    <a:pt x="3605" y="5126"/>
                  </a:cubicBezTo>
                  <a:cubicBezTo>
                    <a:pt x="3590" y="5111"/>
                    <a:pt x="3575" y="5111"/>
                    <a:pt x="3553" y="5104"/>
                  </a:cubicBezTo>
                  <a:cubicBezTo>
                    <a:pt x="3545" y="5096"/>
                    <a:pt x="3538" y="5096"/>
                    <a:pt x="3530" y="5089"/>
                  </a:cubicBezTo>
                  <a:cubicBezTo>
                    <a:pt x="3508" y="5081"/>
                    <a:pt x="3500" y="5081"/>
                    <a:pt x="3478" y="5074"/>
                  </a:cubicBezTo>
                  <a:cubicBezTo>
                    <a:pt x="3455" y="5051"/>
                    <a:pt x="3440" y="5044"/>
                    <a:pt x="3418" y="5029"/>
                  </a:cubicBezTo>
                  <a:cubicBezTo>
                    <a:pt x="3410" y="5029"/>
                    <a:pt x="3410" y="5021"/>
                    <a:pt x="3403" y="5014"/>
                  </a:cubicBezTo>
                  <a:cubicBezTo>
                    <a:pt x="3380" y="4991"/>
                    <a:pt x="3365" y="4984"/>
                    <a:pt x="3343" y="4969"/>
                  </a:cubicBezTo>
                  <a:cubicBezTo>
                    <a:pt x="3320" y="4954"/>
                    <a:pt x="3305" y="4939"/>
                    <a:pt x="3290" y="4916"/>
                  </a:cubicBezTo>
                  <a:cubicBezTo>
                    <a:pt x="3268" y="4901"/>
                    <a:pt x="3268" y="4879"/>
                    <a:pt x="3238" y="4864"/>
                  </a:cubicBezTo>
                  <a:cubicBezTo>
                    <a:pt x="3208" y="4834"/>
                    <a:pt x="3178" y="4841"/>
                    <a:pt x="3141" y="4834"/>
                  </a:cubicBezTo>
                  <a:cubicBezTo>
                    <a:pt x="3126" y="4826"/>
                    <a:pt x="3118" y="4826"/>
                    <a:pt x="3103" y="4819"/>
                  </a:cubicBezTo>
                  <a:cubicBezTo>
                    <a:pt x="3088" y="4812"/>
                    <a:pt x="3073" y="4804"/>
                    <a:pt x="3065" y="4789"/>
                  </a:cubicBezTo>
                  <a:cubicBezTo>
                    <a:pt x="3051" y="4774"/>
                    <a:pt x="3043" y="4774"/>
                    <a:pt x="3036" y="4759"/>
                  </a:cubicBezTo>
                  <a:cubicBezTo>
                    <a:pt x="3021" y="4752"/>
                    <a:pt x="3021" y="4744"/>
                    <a:pt x="3013" y="4736"/>
                  </a:cubicBezTo>
                  <a:cubicBezTo>
                    <a:pt x="3006" y="4729"/>
                    <a:pt x="2998" y="4722"/>
                    <a:pt x="2991" y="4714"/>
                  </a:cubicBezTo>
                  <a:cubicBezTo>
                    <a:pt x="2983" y="4706"/>
                    <a:pt x="2983" y="4699"/>
                    <a:pt x="2976" y="4692"/>
                  </a:cubicBezTo>
                  <a:cubicBezTo>
                    <a:pt x="2953" y="4669"/>
                    <a:pt x="2938" y="4662"/>
                    <a:pt x="2916" y="4647"/>
                  </a:cubicBezTo>
                  <a:cubicBezTo>
                    <a:pt x="2901" y="4639"/>
                    <a:pt x="2893" y="4639"/>
                    <a:pt x="2878" y="4632"/>
                  </a:cubicBezTo>
                  <a:cubicBezTo>
                    <a:pt x="2841" y="4624"/>
                    <a:pt x="2818" y="4624"/>
                    <a:pt x="2781" y="4609"/>
                  </a:cubicBezTo>
                  <a:cubicBezTo>
                    <a:pt x="2758" y="4602"/>
                    <a:pt x="2743" y="4602"/>
                    <a:pt x="2713" y="4594"/>
                  </a:cubicBezTo>
                  <a:cubicBezTo>
                    <a:pt x="2706" y="4594"/>
                    <a:pt x="2698" y="4594"/>
                    <a:pt x="2691" y="4587"/>
                  </a:cubicBezTo>
                  <a:cubicBezTo>
                    <a:pt x="2661" y="4587"/>
                    <a:pt x="2638" y="4579"/>
                    <a:pt x="2608" y="4579"/>
                  </a:cubicBezTo>
                  <a:cubicBezTo>
                    <a:pt x="2571" y="4579"/>
                    <a:pt x="2571" y="4579"/>
                    <a:pt x="2571" y="4579"/>
                  </a:cubicBezTo>
                  <a:cubicBezTo>
                    <a:pt x="2556" y="4579"/>
                    <a:pt x="2556" y="4587"/>
                    <a:pt x="2541" y="4587"/>
                  </a:cubicBezTo>
                  <a:cubicBezTo>
                    <a:pt x="2518" y="4594"/>
                    <a:pt x="2511" y="4602"/>
                    <a:pt x="2488" y="4609"/>
                  </a:cubicBezTo>
                  <a:cubicBezTo>
                    <a:pt x="2474" y="4617"/>
                    <a:pt x="2459" y="4624"/>
                    <a:pt x="2436" y="4632"/>
                  </a:cubicBezTo>
                  <a:cubicBezTo>
                    <a:pt x="2421" y="4639"/>
                    <a:pt x="2414" y="4647"/>
                    <a:pt x="2406" y="4654"/>
                  </a:cubicBezTo>
                  <a:cubicBezTo>
                    <a:pt x="2391" y="4662"/>
                    <a:pt x="2384" y="4669"/>
                    <a:pt x="2369" y="4677"/>
                  </a:cubicBezTo>
                  <a:cubicBezTo>
                    <a:pt x="2354" y="4684"/>
                    <a:pt x="2346" y="4692"/>
                    <a:pt x="2339" y="4706"/>
                  </a:cubicBezTo>
                  <a:cubicBezTo>
                    <a:pt x="2331" y="4706"/>
                    <a:pt x="2324" y="4706"/>
                    <a:pt x="2324" y="4714"/>
                  </a:cubicBezTo>
                  <a:cubicBezTo>
                    <a:pt x="2316" y="4714"/>
                    <a:pt x="2316" y="4722"/>
                    <a:pt x="2309" y="4729"/>
                  </a:cubicBezTo>
                  <a:cubicBezTo>
                    <a:pt x="2309" y="4729"/>
                    <a:pt x="2301" y="4722"/>
                    <a:pt x="2301" y="4729"/>
                  </a:cubicBezTo>
                  <a:cubicBezTo>
                    <a:pt x="2294" y="4729"/>
                    <a:pt x="2286" y="4736"/>
                    <a:pt x="2279" y="4744"/>
                  </a:cubicBezTo>
                  <a:cubicBezTo>
                    <a:pt x="2271" y="4752"/>
                    <a:pt x="2264" y="4752"/>
                    <a:pt x="2256" y="4759"/>
                  </a:cubicBezTo>
                  <a:cubicBezTo>
                    <a:pt x="2241" y="4782"/>
                    <a:pt x="2226" y="4796"/>
                    <a:pt x="2204" y="4819"/>
                  </a:cubicBezTo>
                  <a:cubicBezTo>
                    <a:pt x="2196" y="4826"/>
                    <a:pt x="2189" y="4826"/>
                    <a:pt x="2181" y="4834"/>
                  </a:cubicBezTo>
                  <a:cubicBezTo>
                    <a:pt x="2181" y="4841"/>
                    <a:pt x="2174" y="4849"/>
                    <a:pt x="2166" y="4849"/>
                  </a:cubicBezTo>
                  <a:lnTo>
                    <a:pt x="2159" y="4849"/>
                  </a:lnTo>
                  <a:cubicBezTo>
                    <a:pt x="2151" y="4856"/>
                    <a:pt x="2151" y="4856"/>
                    <a:pt x="2144" y="4856"/>
                  </a:cubicBezTo>
                  <a:cubicBezTo>
                    <a:pt x="2129" y="4864"/>
                    <a:pt x="2114" y="4871"/>
                    <a:pt x="2099" y="4879"/>
                  </a:cubicBezTo>
                  <a:cubicBezTo>
                    <a:pt x="2091" y="4894"/>
                    <a:pt x="2084" y="4901"/>
                    <a:pt x="2076" y="4909"/>
                  </a:cubicBezTo>
                  <a:cubicBezTo>
                    <a:pt x="2047" y="4939"/>
                    <a:pt x="2031" y="4961"/>
                    <a:pt x="2001" y="4991"/>
                  </a:cubicBezTo>
                  <a:cubicBezTo>
                    <a:pt x="1987" y="5014"/>
                    <a:pt x="1971" y="5021"/>
                    <a:pt x="1949" y="5044"/>
                  </a:cubicBezTo>
                  <a:cubicBezTo>
                    <a:pt x="1941" y="5051"/>
                    <a:pt x="1941" y="5059"/>
                    <a:pt x="1934" y="5066"/>
                  </a:cubicBezTo>
                  <a:cubicBezTo>
                    <a:pt x="1934" y="5074"/>
                    <a:pt x="1927" y="5074"/>
                    <a:pt x="1927" y="5081"/>
                  </a:cubicBezTo>
                  <a:cubicBezTo>
                    <a:pt x="1927" y="5089"/>
                    <a:pt x="1927" y="5089"/>
                    <a:pt x="1919" y="5089"/>
                  </a:cubicBezTo>
                  <a:cubicBezTo>
                    <a:pt x="1911" y="5089"/>
                    <a:pt x="1911" y="5089"/>
                    <a:pt x="1911" y="5089"/>
                  </a:cubicBezTo>
                  <a:cubicBezTo>
                    <a:pt x="1897" y="5089"/>
                    <a:pt x="1889" y="5081"/>
                    <a:pt x="1882" y="5074"/>
                  </a:cubicBezTo>
                  <a:cubicBezTo>
                    <a:pt x="1867" y="5066"/>
                    <a:pt x="1867" y="5059"/>
                    <a:pt x="1859" y="5051"/>
                  </a:cubicBezTo>
                  <a:cubicBezTo>
                    <a:pt x="1852" y="5044"/>
                    <a:pt x="1837" y="5044"/>
                    <a:pt x="1837" y="5029"/>
                  </a:cubicBezTo>
                  <a:cubicBezTo>
                    <a:pt x="1837" y="5021"/>
                    <a:pt x="1844" y="5014"/>
                    <a:pt x="1844" y="4999"/>
                  </a:cubicBezTo>
                  <a:lnTo>
                    <a:pt x="1837" y="4991"/>
                  </a:lnTo>
                  <a:cubicBezTo>
                    <a:pt x="1829" y="4991"/>
                    <a:pt x="1829" y="4984"/>
                    <a:pt x="1822" y="4984"/>
                  </a:cubicBezTo>
                  <a:cubicBezTo>
                    <a:pt x="1814" y="4976"/>
                    <a:pt x="1807" y="4969"/>
                    <a:pt x="1807" y="4961"/>
                  </a:cubicBezTo>
                  <a:cubicBezTo>
                    <a:pt x="1799" y="4954"/>
                    <a:pt x="1799" y="4946"/>
                    <a:pt x="1799" y="4939"/>
                  </a:cubicBezTo>
                  <a:cubicBezTo>
                    <a:pt x="1799" y="4924"/>
                    <a:pt x="1792" y="4916"/>
                    <a:pt x="1784" y="4901"/>
                  </a:cubicBezTo>
                  <a:cubicBezTo>
                    <a:pt x="1784" y="4886"/>
                    <a:pt x="1784" y="4886"/>
                    <a:pt x="1777" y="4871"/>
                  </a:cubicBezTo>
                  <a:cubicBezTo>
                    <a:pt x="1777" y="4864"/>
                    <a:pt x="1769" y="4856"/>
                    <a:pt x="1754" y="4849"/>
                  </a:cubicBezTo>
                  <a:cubicBezTo>
                    <a:pt x="1739" y="4826"/>
                    <a:pt x="1724" y="4812"/>
                    <a:pt x="1694" y="4804"/>
                  </a:cubicBezTo>
                  <a:cubicBezTo>
                    <a:pt x="1679" y="4796"/>
                    <a:pt x="1672" y="4796"/>
                    <a:pt x="1664" y="4789"/>
                  </a:cubicBezTo>
                  <a:cubicBezTo>
                    <a:pt x="1649" y="4782"/>
                    <a:pt x="1649" y="4766"/>
                    <a:pt x="1649" y="4752"/>
                  </a:cubicBezTo>
                  <a:cubicBezTo>
                    <a:pt x="1642" y="4736"/>
                    <a:pt x="1634" y="4729"/>
                    <a:pt x="1619" y="4714"/>
                  </a:cubicBezTo>
                  <a:cubicBezTo>
                    <a:pt x="1612" y="4699"/>
                    <a:pt x="1604" y="4692"/>
                    <a:pt x="1597" y="4684"/>
                  </a:cubicBezTo>
                  <a:cubicBezTo>
                    <a:pt x="1589" y="4669"/>
                    <a:pt x="1582" y="4662"/>
                    <a:pt x="1574" y="4654"/>
                  </a:cubicBezTo>
                  <a:cubicBezTo>
                    <a:pt x="1567" y="4654"/>
                    <a:pt x="1567" y="4654"/>
                    <a:pt x="1559" y="4654"/>
                  </a:cubicBezTo>
                  <a:cubicBezTo>
                    <a:pt x="1544" y="4654"/>
                    <a:pt x="1537" y="4654"/>
                    <a:pt x="1522" y="4654"/>
                  </a:cubicBezTo>
                  <a:cubicBezTo>
                    <a:pt x="1499" y="4654"/>
                    <a:pt x="1484" y="4654"/>
                    <a:pt x="1454" y="4654"/>
                  </a:cubicBezTo>
                  <a:cubicBezTo>
                    <a:pt x="1439" y="4654"/>
                    <a:pt x="1432" y="4654"/>
                    <a:pt x="1417" y="4654"/>
                  </a:cubicBezTo>
                  <a:cubicBezTo>
                    <a:pt x="1372" y="4654"/>
                    <a:pt x="1372" y="4654"/>
                    <a:pt x="1372" y="4654"/>
                  </a:cubicBezTo>
                  <a:lnTo>
                    <a:pt x="1364" y="4654"/>
                  </a:lnTo>
                  <a:cubicBezTo>
                    <a:pt x="1312" y="4654"/>
                    <a:pt x="1312" y="4654"/>
                    <a:pt x="1312" y="4654"/>
                  </a:cubicBezTo>
                  <a:cubicBezTo>
                    <a:pt x="1297" y="4654"/>
                    <a:pt x="1289" y="4669"/>
                    <a:pt x="1282" y="4677"/>
                  </a:cubicBezTo>
                  <a:cubicBezTo>
                    <a:pt x="1267" y="4714"/>
                    <a:pt x="1252" y="4729"/>
                    <a:pt x="1229" y="4759"/>
                  </a:cubicBezTo>
                  <a:cubicBezTo>
                    <a:pt x="1222" y="4759"/>
                    <a:pt x="1215" y="4766"/>
                    <a:pt x="1207" y="4774"/>
                  </a:cubicBezTo>
                  <a:cubicBezTo>
                    <a:pt x="1192" y="4789"/>
                    <a:pt x="1177" y="4796"/>
                    <a:pt x="1170" y="4819"/>
                  </a:cubicBezTo>
                  <a:cubicBezTo>
                    <a:pt x="1162" y="4834"/>
                    <a:pt x="1162" y="4849"/>
                    <a:pt x="1155" y="4856"/>
                  </a:cubicBezTo>
                  <a:cubicBezTo>
                    <a:pt x="1140" y="4894"/>
                    <a:pt x="1140" y="4916"/>
                    <a:pt x="1125" y="4946"/>
                  </a:cubicBezTo>
                  <a:cubicBezTo>
                    <a:pt x="1117" y="4976"/>
                    <a:pt x="1110" y="4999"/>
                    <a:pt x="1102" y="5029"/>
                  </a:cubicBezTo>
                  <a:cubicBezTo>
                    <a:pt x="1102" y="5036"/>
                    <a:pt x="1102" y="5036"/>
                    <a:pt x="1102" y="5036"/>
                  </a:cubicBezTo>
                  <a:cubicBezTo>
                    <a:pt x="1102" y="5126"/>
                    <a:pt x="1102" y="5126"/>
                    <a:pt x="1102" y="5126"/>
                  </a:cubicBezTo>
                  <a:cubicBezTo>
                    <a:pt x="1102" y="5141"/>
                    <a:pt x="1095" y="5156"/>
                    <a:pt x="1102" y="5179"/>
                  </a:cubicBezTo>
                  <a:cubicBezTo>
                    <a:pt x="1110" y="5194"/>
                    <a:pt x="1125" y="5209"/>
                    <a:pt x="1147" y="5209"/>
                  </a:cubicBezTo>
                  <a:cubicBezTo>
                    <a:pt x="1170" y="5209"/>
                    <a:pt x="1185" y="5209"/>
                    <a:pt x="1199" y="5209"/>
                  </a:cubicBezTo>
                  <a:cubicBezTo>
                    <a:pt x="1222" y="5216"/>
                    <a:pt x="1229" y="5231"/>
                    <a:pt x="1252" y="5246"/>
                  </a:cubicBezTo>
                  <a:cubicBezTo>
                    <a:pt x="1275" y="5261"/>
                    <a:pt x="1289" y="5276"/>
                    <a:pt x="1312" y="5299"/>
                  </a:cubicBezTo>
                  <a:cubicBezTo>
                    <a:pt x="1327" y="5306"/>
                    <a:pt x="1335" y="5314"/>
                    <a:pt x="1342" y="5321"/>
                  </a:cubicBezTo>
                  <a:cubicBezTo>
                    <a:pt x="1364" y="5336"/>
                    <a:pt x="1379" y="5344"/>
                    <a:pt x="1387" y="5366"/>
                  </a:cubicBezTo>
                  <a:cubicBezTo>
                    <a:pt x="1394" y="5374"/>
                    <a:pt x="1402" y="5381"/>
                    <a:pt x="1409" y="5388"/>
                  </a:cubicBezTo>
                  <a:cubicBezTo>
                    <a:pt x="1417" y="5396"/>
                    <a:pt x="1417" y="5396"/>
                    <a:pt x="1424" y="5396"/>
                  </a:cubicBezTo>
                  <a:cubicBezTo>
                    <a:pt x="1424" y="5396"/>
                    <a:pt x="1424" y="5396"/>
                    <a:pt x="1432" y="5396"/>
                  </a:cubicBezTo>
                  <a:cubicBezTo>
                    <a:pt x="1447" y="5396"/>
                    <a:pt x="1454" y="5388"/>
                    <a:pt x="1469" y="5381"/>
                  </a:cubicBezTo>
                  <a:cubicBezTo>
                    <a:pt x="1484" y="5381"/>
                    <a:pt x="1492" y="5381"/>
                    <a:pt x="1499" y="5381"/>
                  </a:cubicBezTo>
                  <a:cubicBezTo>
                    <a:pt x="1522" y="5374"/>
                    <a:pt x="1537" y="5366"/>
                    <a:pt x="1559" y="5366"/>
                  </a:cubicBezTo>
                  <a:cubicBezTo>
                    <a:pt x="1582" y="5366"/>
                    <a:pt x="1597" y="5374"/>
                    <a:pt x="1612" y="5388"/>
                  </a:cubicBezTo>
                  <a:cubicBezTo>
                    <a:pt x="1619" y="5396"/>
                    <a:pt x="1627" y="5396"/>
                    <a:pt x="1634" y="5404"/>
                  </a:cubicBezTo>
                  <a:cubicBezTo>
                    <a:pt x="1642" y="5411"/>
                    <a:pt x="1642" y="5418"/>
                    <a:pt x="1649" y="5426"/>
                  </a:cubicBezTo>
                  <a:cubicBezTo>
                    <a:pt x="1664" y="5434"/>
                    <a:pt x="1664" y="5441"/>
                    <a:pt x="1672" y="5456"/>
                  </a:cubicBezTo>
                  <a:cubicBezTo>
                    <a:pt x="1679" y="5464"/>
                    <a:pt x="1679" y="5471"/>
                    <a:pt x="1687" y="5478"/>
                  </a:cubicBezTo>
                  <a:cubicBezTo>
                    <a:pt x="1687" y="5486"/>
                    <a:pt x="1687" y="5494"/>
                    <a:pt x="1694" y="5501"/>
                  </a:cubicBezTo>
                  <a:cubicBezTo>
                    <a:pt x="1709" y="5516"/>
                    <a:pt x="1717" y="5524"/>
                    <a:pt x="1732" y="5531"/>
                  </a:cubicBezTo>
                  <a:cubicBezTo>
                    <a:pt x="1754" y="5553"/>
                    <a:pt x="1769" y="5561"/>
                    <a:pt x="1792" y="5583"/>
                  </a:cubicBezTo>
                  <a:cubicBezTo>
                    <a:pt x="1814" y="5606"/>
                    <a:pt x="1814" y="5628"/>
                    <a:pt x="1837" y="5651"/>
                  </a:cubicBezTo>
                  <a:cubicBezTo>
                    <a:pt x="1844" y="5658"/>
                    <a:pt x="1844" y="5658"/>
                    <a:pt x="1852" y="5666"/>
                  </a:cubicBezTo>
                  <a:cubicBezTo>
                    <a:pt x="1874" y="5681"/>
                    <a:pt x="1882" y="5696"/>
                    <a:pt x="1897" y="5711"/>
                  </a:cubicBezTo>
                  <a:cubicBezTo>
                    <a:pt x="1919" y="5718"/>
                    <a:pt x="1927" y="5726"/>
                    <a:pt x="1941" y="5733"/>
                  </a:cubicBezTo>
                  <a:cubicBezTo>
                    <a:pt x="1971" y="5741"/>
                    <a:pt x="1987" y="5741"/>
                    <a:pt x="2009" y="5748"/>
                  </a:cubicBezTo>
                  <a:cubicBezTo>
                    <a:pt x="2024" y="5748"/>
                    <a:pt x="2031" y="5748"/>
                    <a:pt x="2047" y="5756"/>
                  </a:cubicBezTo>
                  <a:cubicBezTo>
                    <a:pt x="2054" y="5756"/>
                    <a:pt x="2069" y="5756"/>
                    <a:pt x="2069" y="5771"/>
                  </a:cubicBezTo>
                  <a:cubicBezTo>
                    <a:pt x="2069" y="5801"/>
                    <a:pt x="2069" y="5801"/>
                    <a:pt x="2069" y="5801"/>
                  </a:cubicBezTo>
                  <a:cubicBezTo>
                    <a:pt x="2069" y="5816"/>
                    <a:pt x="2061" y="5831"/>
                    <a:pt x="2076" y="5838"/>
                  </a:cubicBezTo>
                  <a:cubicBezTo>
                    <a:pt x="2084" y="5846"/>
                    <a:pt x="2099" y="5838"/>
                    <a:pt x="2106" y="5853"/>
                  </a:cubicBezTo>
                  <a:cubicBezTo>
                    <a:pt x="2099" y="5861"/>
                    <a:pt x="2099" y="5868"/>
                    <a:pt x="2091" y="5883"/>
                  </a:cubicBezTo>
                  <a:cubicBezTo>
                    <a:pt x="2084" y="5891"/>
                    <a:pt x="2084" y="5891"/>
                    <a:pt x="2076" y="5891"/>
                  </a:cubicBezTo>
                  <a:cubicBezTo>
                    <a:pt x="2069" y="5891"/>
                    <a:pt x="2061" y="5891"/>
                    <a:pt x="2054" y="5891"/>
                  </a:cubicBezTo>
                  <a:cubicBezTo>
                    <a:pt x="2039" y="5891"/>
                    <a:pt x="2031" y="5906"/>
                    <a:pt x="2017" y="5913"/>
                  </a:cubicBezTo>
                  <a:cubicBezTo>
                    <a:pt x="2009" y="5928"/>
                    <a:pt x="2001" y="5928"/>
                    <a:pt x="1994" y="5935"/>
                  </a:cubicBezTo>
                  <a:cubicBezTo>
                    <a:pt x="1987" y="5951"/>
                    <a:pt x="1987" y="5958"/>
                    <a:pt x="1979" y="5965"/>
                  </a:cubicBezTo>
                  <a:cubicBezTo>
                    <a:pt x="1971" y="5965"/>
                    <a:pt x="1964" y="5965"/>
                    <a:pt x="1957" y="5965"/>
                  </a:cubicBezTo>
                  <a:cubicBezTo>
                    <a:pt x="1941" y="5973"/>
                    <a:pt x="1941" y="5981"/>
                    <a:pt x="1927" y="5981"/>
                  </a:cubicBezTo>
                  <a:cubicBezTo>
                    <a:pt x="1911" y="5988"/>
                    <a:pt x="1904" y="5988"/>
                    <a:pt x="1889" y="5995"/>
                  </a:cubicBezTo>
                  <a:cubicBezTo>
                    <a:pt x="1882" y="6003"/>
                    <a:pt x="1882" y="6003"/>
                    <a:pt x="1874" y="6003"/>
                  </a:cubicBezTo>
                  <a:cubicBezTo>
                    <a:pt x="1859" y="6003"/>
                    <a:pt x="1859" y="5988"/>
                    <a:pt x="1852" y="5981"/>
                  </a:cubicBezTo>
                  <a:cubicBezTo>
                    <a:pt x="1852" y="5973"/>
                    <a:pt x="1844" y="5965"/>
                    <a:pt x="1829" y="5958"/>
                  </a:cubicBezTo>
                  <a:cubicBezTo>
                    <a:pt x="1807" y="5951"/>
                    <a:pt x="1792" y="5943"/>
                    <a:pt x="1769" y="5928"/>
                  </a:cubicBezTo>
                  <a:cubicBezTo>
                    <a:pt x="1754" y="5921"/>
                    <a:pt x="1739" y="5921"/>
                    <a:pt x="1724" y="5913"/>
                  </a:cubicBezTo>
                  <a:cubicBezTo>
                    <a:pt x="1717" y="5913"/>
                    <a:pt x="1709" y="5913"/>
                    <a:pt x="1709" y="5913"/>
                  </a:cubicBezTo>
                  <a:cubicBezTo>
                    <a:pt x="1694" y="5913"/>
                    <a:pt x="1687" y="5913"/>
                    <a:pt x="1672" y="5913"/>
                  </a:cubicBezTo>
                  <a:cubicBezTo>
                    <a:pt x="1657" y="5906"/>
                    <a:pt x="1657" y="5906"/>
                    <a:pt x="1642" y="5906"/>
                  </a:cubicBezTo>
                  <a:cubicBezTo>
                    <a:pt x="1627" y="5906"/>
                    <a:pt x="1619" y="5906"/>
                    <a:pt x="1604" y="5913"/>
                  </a:cubicBezTo>
                  <a:cubicBezTo>
                    <a:pt x="1597" y="5921"/>
                    <a:pt x="1589" y="5928"/>
                    <a:pt x="1582" y="5935"/>
                  </a:cubicBezTo>
                  <a:cubicBezTo>
                    <a:pt x="1582" y="5943"/>
                    <a:pt x="1582" y="5951"/>
                    <a:pt x="1574" y="5951"/>
                  </a:cubicBezTo>
                  <a:cubicBezTo>
                    <a:pt x="1567" y="5951"/>
                    <a:pt x="1559" y="5943"/>
                    <a:pt x="1559" y="5935"/>
                  </a:cubicBezTo>
                  <a:cubicBezTo>
                    <a:pt x="1559" y="5928"/>
                    <a:pt x="1567" y="5928"/>
                    <a:pt x="1567" y="5921"/>
                  </a:cubicBezTo>
                  <a:cubicBezTo>
                    <a:pt x="1574" y="5913"/>
                    <a:pt x="1574" y="5906"/>
                    <a:pt x="1582" y="5898"/>
                  </a:cubicBezTo>
                  <a:cubicBezTo>
                    <a:pt x="1582" y="5891"/>
                    <a:pt x="1589" y="5891"/>
                    <a:pt x="1589" y="5883"/>
                  </a:cubicBezTo>
                  <a:cubicBezTo>
                    <a:pt x="1589" y="5868"/>
                    <a:pt x="1574" y="5861"/>
                    <a:pt x="1567" y="5853"/>
                  </a:cubicBezTo>
                  <a:cubicBezTo>
                    <a:pt x="1552" y="5846"/>
                    <a:pt x="1544" y="5831"/>
                    <a:pt x="1537" y="5831"/>
                  </a:cubicBezTo>
                  <a:cubicBezTo>
                    <a:pt x="1522" y="5831"/>
                    <a:pt x="1514" y="5846"/>
                    <a:pt x="1499" y="5853"/>
                  </a:cubicBezTo>
                  <a:cubicBezTo>
                    <a:pt x="1492" y="5861"/>
                    <a:pt x="1484" y="5868"/>
                    <a:pt x="1484" y="5876"/>
                  </a:cubicBezTo>
                  <a:cubicBezTo>
                    <a:pt x="1469" y="5898"/>
                    <a:pt x="1454" y="5906"/>
                    <a:pt x="1447" y="5935"/>
                  </a:cubicBezTo>
                  <a:cubicBezTo>
                    <a:pt x="1447" y="5943"/>
                    <a:pt x="1439" y="5951"/>
                    <a:pt x="1439" y="5958"/>
                  </a:cubicBezTo>
                  <a:cubicBezTo>
                    <a:pt x="1432" y="5965"/>
                    <a:pt x="1432" y="5965"/>
                    <a:pt x="1424" y="5973"/>
                  </a:cubicBezTo>
                  <a:cubicBezTo>
                    <a:pt x="1417" y="5973"/>
                    <a:pt x="1417" y="5981"/>
                    <a:pt x="1402" y="5981"/>
                  </a:cubicBezTo>
                  <a:cubicBezTo>
                    <a:pt x="1387" y="5995"/>
                    <a:pt x="1379" y="5995"/>
                    <a:pt x="1357" y="6011"/>
                  </a:cubicBezTo>
                  <a:cubicBezTo>
                    <a:pt x="1349" y="6018"/>
                    <a:pt x="1349" y="6025"/>
                    <a:pt x="1335" y="6025"/>
                  </a:cubicBezTo>
                  <a:cubicBezTo>
                    <a:pt x="1327" y="6025"/>
                    <a:pt x="1319" y="6018"/>
                    <a:pt x="1305" y="6018"/>
                  </a:cubicBezTo>
                  <a:cubicBezTo>
                    <a:pt x="1297" y="6011"/>
                    <a:pt x="1297" y="6011"/>
                    <a:pt x="1289" y="6011"/>
                  </a:cubicBezTo>
                  <a:cubicBezTo>
                    <a:pt x="1282" y="6011"/>
                    <a:pt x="1282" y="6018"/>
                    <a:pt x="1282" y="6025"/>
                  </a:cubicBezTo>
                  <a:cubicBezTo>
                    <a:pt x="1275" y="6033"/>
                    <a:pt x="1275" y="6033"/>
                    <a:pt x="1275" y="6041"/>
                  </a:cubicBezTo>
                  <a:cubicBezTo>
                    <a:pt x="1267" y="6055"/>
                    <a:pt x="1267" y="6070"/>
                    <a:pt x="1259" y="6085"/>
                  </a:cubicBezTo>
                  <a:cubicBezTo>
                    <a:pt x="1259" y="6108"/>
                    <a:pt x="1259" y="6123"/>
                    <a:pt x="1252" y="6145"/>
                  </a:cubicBezTo>
                  <a:cubicBezTo>
                    <a:pt x="1252" y="6153"/>
                    <a:pt x="1252" y="6160"/>
                    <a:pt x="1252" y="6168"/>
                  </a:cubicBezTo>
                  <a:cubicBezTo>
                    <a:pt x="1252" y="6205"/>
                    <a:pt x="1252" y="6205"/>
                    <a:pt x="1252" y="6205"/>
                  </a:cubicBezTo>
                  <a:cubicBezTo>
                    <a:pt x="1252" y="6228"/>
                    <a:pt x="1267" y="6243"/>
                    <a:pt x="1267" y="6265"/>
                  </a:cubicBezTo>
                  <a:cubicBezTo>
                    <a:pt x="1267" y="6273"/>
                    <a:pt x="1267" y="6280"/>
                    <a:pt x="1259" y="6280"/>
                  </a:cubicBezTo>
                  <a:cubicBezTo>
                    <a:pt x="1259" y="6288"/>
                    <a:pt x="1252" y="6288"/>
                    <a:pt x="1245" y="6288"/>
                  </a:cubicBezTo>
                  <a:cubicBezTo>
                    <a:pt x="1229" y="6295"/>
                    <a:pt x="1222" y="6295"/>
                    <a:pt x="1207" y="6303"/>
                  </a:cubicBezTo>
                  <a:cubicBezTo>
                    <a:pt x="1170" y="6318"/>
                    <a:pt x="1147" y="6318"/>
                    <a:pt x="1117" y="6333"/>
                  </a:cubicBezTo>
                  <a:cubicBezTo>
                    <a:pt x="1102" y="6340"/>
                    <a:pt x="1087" y="6348"/>
                    <a:pt x="1080" y="6355"/>
                  </a:cubicBezTo>
                  <a:cubicBezTo>
                    <a:pt x="1072" y="6355"/>
                    <a:pt x="1065" y="6363"/>
                    <a:pt x="1057" y="6370"/>
                  </a:cubicBezTo>
                  <a:cubicBezTo>
                    <a:pt x="1050" y="6378"/>
                    <a:pt x="1050" y="6385"/>
                    <a:pt x="1050" y="6393"/>
                  </a:cubicBezTo>
                  <a:cubicBezTo>
                    <a:pt x="1042" y="6408"/>
                    <a:pt x="1035" y="6415"/>
                    <a:pt x="1027" y="6430"/>
                  </a:cubicBezTo>
                  <a:cubicBezTo>
                    <a:pt x="1027" y="6445"/>
                    <a:pt x="1020" y="6453"/>
                    <a:pt x="1012" y="6460"/>
                  </a:cubicBezTo>
                  <a:cubicBezTo>
                    <a:pt x="1012" y="6468"/>
                    <a:pt x="1005" y="6475"/>
                    <a:pt x="997" y="6475"/>
                  </a:cubicBezTo>
                  <a:cubicBezTo>
                    <a:pt x="990" y="6475"/>
                    <a:pt x="990" y="6468"/>
                    <a:pt x="982" y="6468"/>
                  </a:cubicBezTo>
                  <a:cubicBezTo>
                    <a:pt x="967" y="6460"/>
                    <a:pt x="960" y="6460"/>
                    <a:pt x="952" y="6453"/>
                  </a:cubicBezTo>
                  <a:cubicBezTo>
                    <a:pt x="945" y="6438"/>
                    <a:pt x="937" y="6430"/>
                    <a:pt x="922" y="6430"/>
                  </a:cubicBezTo>
                  <a:cubicBezTo>
                    <a:pt x="900" y="6430"/>
                    <a:pt x="885" y="6438"/>
                    <a:pt x="862" y="6438"/>
                  </a:cubicBezTo>
                  <a:cubicBezTo>
                    <a:pt x="855" y="6438"/>
                    <a:pt x="847" y="6430"/>
                    <a:pt x="840" y="6415"/>
                  </a:cubicBezTo>
                  <a:cubicBezTo>
                    <a:pt x="832" y="6408"/>
                    <a:pt x="825" y="6393"/>
                    <a:pt x="817" y="6378"/>
                  </a:cubicBezTo>
                  <a:cubicBezTo>
                    <a:pt x="802" y="6355"/>
                    <a:pt x="795" y="6340"/>
                    <a:pt x="780" y="6310"/>
                  </a:cubicBezTo>
                  <a:cubicBezTo>
                    <a:pt x="772" y="6288"/>
                    <a:pt x="780" y="6273"/>
                    <a:pt x="765" y="6250"/>
                  </a:cubicBezTo>
                  <a:cubicBezTo>
                    <a:pt x="758" y="6235"/>
                    <a:pt x="758" y="6220"/>
                    <a:pt x="758" y="6198"/>
                  </a:cubicBezTo>
                  <a:cubicBezTo>
                    <a:pt x="750" y="6190"/>
                    <a:pt x="750" y="6183"/>
                    <a:pt x="750" y="6175"/>
                  </a:cubicBezTo>
                  <a:cubicBezTo>
                    <a:pt x="750" y="6153"/>
                    <a:pt x="758" y="6145"/>
                    <a:pt x="758" y="6123"/>
                  </a:cubicBezTo>
                  <a:cubicBezTo>
                    <a:pt x="758" y="6115"/>
                    <a:pt x="772" y="6108"/>
                    <a:pt x="772" y="6100"/>
                  </a:cubicBezTo>
                  <a:cubicBezTo>
                    <a:pt x="772" y="6063"/>
                    <a:pt x="772" y="6063"/>
                    <a:pt x="772" y="6063"/>
                  </a:cubicBezTo>
                  <a:cubicBezTo>
                    <a:pt x="772" y="6055"/>
                    <a:pt x="772" y="6055"/>
                    <a:pt x="772" y="6048"/>
                  </a:cubicBezTo>
                  <a:cubicBezTo>
                    <a:pt x="780" y="6033"/>
                    <a:pt x="787" y="6025"/>
                    <a:pt x="795" y="6011"/>
                  </a:cubicBezTo>
                  <a:cubicBezTo>
                    <a:pt x="810" y="5988"/>
                    <a:pt x="817" y="5981"/>
                    <a:pt x="832" y="5958"/>
                  </a:cubicBezTo>
                  <a:cubicBezTo>
                    <a:pt x="832" y="5951"/>
                    <a:pt x="840" y="5943"/>
                    <a:pt x="847" y="5935"/>
                  </a:cubicBezTo>
                  <a:cubicBezTo>
                    <a:pt x="847" y="5928"/>
                    <a:pt x="855" y="5921"/>
                    <a:pt x="862" y="5913"/>
                  </a:cubicBezTo>
                  <a:cubicBezTo>
                    <a:pt x="862" y="5906"/>
                    <a:pt x="862" y="5898"/>
                    <a:pt x="862" y="5883"/>
                  </a:cubicBezTo>
                  <a:cubicBezTo>
                    <a:pt x="862" y="5868"/>
                    <a:pt x="862" y="5861"/>
                    <a:pt x="870" y="5846"/>
                  </a:cubicBezTo>
                  <a:cubicBezTo>
                    <a:pt x="877" y="5846"/>
                    <a:pt x="877" y="5846"/>
                    <a:pt x="877" y="5846"/>
                  </a:cubicBezTo>
                  <a:cubicBezTo>
                    <a:pt x="892" y="5853"/>
                    <a:pt x="892" y="5853"/>
                    <a:pt x="892" y="5853"/>
                  </a:cubicBezTo>
                  <a:cubicBezTo>
                    <a:pt x="907" y="5846"/>
                    <a:pt x="915" y="5831"/>
                    <a:pt x="915" y="5816"/>
                  </a:cubicBezTo>
                  <a:cubicBezTo>
                    <a:pt x="915" y="5793"/>
                    <a:pt x="915" y="5778"/>
                    <a:pt x="922" y="5756"/>
                  </a:cubicBezTo>
                  <a:cubicBezTo>
                    <a:pt x="922" y="5748"/>
                    <a:pt x="922" y="5748"/>
                    <a:pt x="922" y="5741"/>
                  </a:cubicBezTo>
                  <a:cubicBezTo>
                    <a:pt x="922" y="5718"/>
                    <a:pt x="930" y="5703"/>
                    <a:pt x="930" y="5681"/>
                  </a:cubicBezTo>
                  <a:cubicBezTo>
                    <a:pt x="930" y="5658"/>
                    <a:pt x="922" y="5651"/>
                    <a:pt x="915" y="5636"/>
                  </a:cubicBezTo>
                  <a:cubicBezTo>
                    <a:pt x="915" y="5613"/>
                    <a:pt x="915" y="5606"/>
                    <a:pt x="915" y="5591"/>
                  </a:cubicBezTo>
                  <a:cubicBezTo>
                    <a:pt x="907" y="5576"/>
                    <a:pt x="907" y="5568"/>
                    <a:pt x="907" y="5561"/>
                  </a:cubicBezTo>
                  <a:cubicBezTo>
                    <a:pt x="892" y="5538"/>
                    <a:pt x="885" y="5531"/>
                    <a:pt x="870" y="5508"/>
                  </a:cubicBezTo>
                  <a:cubicBezTo>
                    <a:pt x="862" y="5501"/>
                    <a:pt x="855" y="5494"/>
                    <a:pt x="847" y="5478"/>
                  </a:cubicBezTo>
                  <a:cubicBezTo>
                    <a:pt x="840" y="5464"/>
                    <a:pt x="840" y="5456"/>
                    <a:pt x="832" y="5448"/>
                  </a:cubicBezTo>
                  <a:cubicBezTo>
                    <a:pt x="825" y="5426"/>
                    <a:pt x="817" y="5418"/>
                    <a:pt x="810" y="5404"/>
                  </a:cubicBezTo>
                  <a:cubicBezTo>
                    <a:pt x="802" y="5396"/>
                    <a:pt x="802" y="5388"/>
                    <a:pt x="795" y="5381"/>
                  </a:cubicBezTo>
                  <a:cubicBezTo>
                    <a:pt x="787" y="5381"/>
                    <a:pt x="780" y="5374"/>
                    <a:pt x="765" y="5374"/>
                  </a:cubicBezTo>
                  <a:cubicBezTo>
                    <a:pt x="735" y="5366"/>
                    <a:pt x="712" y="5374"/>
                    <a:pt x="690" y="5359"/>
                  </a:cubicBezTo>
                  <a:cubicBezTo>
                    <a:pt x="675" y="5351"/>
                    <a:pt x="668" y="5336"/>
                    <a:pt x="660" y="5321"/>
                  </a:cubicBezTo>
                  <a:cubicBezTo>
                    <a:pt x="652" y="5306"/>
                    <a:pt x="652" y="5299"/>
                    <a:pt x="645" y="5284"/>
                  </a:cubicBezTo>
                  <a:cubicBezTo>
                    <a:pt x="638" y="5254"/>
                    <a:pt x="623" y="5231"/>
                    <a:pt x="593" y="5224"/>
                  </a:cubicBezTo>
                  <a:cubicBezTo>
                    <a:pt x="578" y="5216"/>
                    <a:pt x="570" y="5209"/>
                    <a:pt x="555" y="5201"/>
                  </a:cubicBezTo>
                  <a:cubicBezTo>
                    <a:pt x="533" y="5194"/>
                    <a:pt x="525" y="5179"/>
                    <a:pt x="525" y="5164"/>
                  </a:cubicBezTo>
                  <a:cubicBezTo>
                    <a:pt x="525" y="5149"/>
                    <a:pt x="525" y="5141"/>
                    <a:pt x="525" y="5126"/>
                  </a:cubicBezTo>
                  <a:cubicBezTo>
                    <a:pt x="518" y="5111"/>
                    <a:pt x="510" y="5096"/>
                    <a:pt x="510" y="5081"/>
                  </a:cubicBezTo>
                  <a:cubicBezTo>
                    <a:pt x="510" y="5059"/>
                    <a:pt x="518" y="5044"/>
                    <a:pt x="533" y="5029"/>
                  </a:cubicBezTo>
                  <a:cubicBezTo>
                    <a:pt x="548" y="5006"/>
                    <a:pt x="555" y="4991"/>
                    <a:pt x="570" y="4969"/>
                  </a:cubicBezTo>
                  <a:cubicBezTo>
                    <a:pt x="578" y="4946"/>
                    <a:pt x="585" y="4931"/>
                    <a:pt x="593" y="4909"/>
                  </a:cubicBezTo>
                  <a:cubicBezTo>
                    <a:pt x="593" y="4886"/>
                    <a:pt x="600" y="4879"/>
                    <a:pt x="600" y="4856"/>
                  </a:cubicBezTo>
                  <a:cubicBezTo>
                    <a:pt x="600" y="4796"/>
                    <a:pt x="585" y="4766"/>
                    <a:pt x="585" y="4714"/>
                  </a:cubicBezTo>
                  <a:cubicBezTo>
                    <a:pt x="585" y="4692"/>
                    <a:pt x="585" y="4692"/>
                    <a:pt x="585" y="4692"/>
                  </a:cubicBezTo>
                  <a:cubicBezTo>
                    <a:pt x="585" y="4669"/>
                    <a:pt x="585" y="4654"/>
                    <a:pt x="585" y="4624"/>
                  </a:cubicBezTo>
                  <a:cubicBezTo>
                    <a:pt x="585" y="4594"/>
                    <a:pt x="600" y="4579"/>
                    <a:pt x="600" y="4549"/>
                  </a:cubicBezTo>
                  <a:cubicBezTo>
                    <a:pt x="615" y="4534"/>
                    <a:pt x="630" y="4527"/>
                    <a:pt x="645" y="4519"/>
                  </a:cubicBezTo>
                  <a:cubicBezTo>
                    <a:pt x="652" y="4512"/>
                    <a:pt x="660" y="4504"/>
                    <a:pt x="668" y="4504"/>
                  </a:cubicBezTo>
                  <a:cubicBezTo>
                    <a:pt x="682" y="4504"/>
                    <a:pt x="690" y="4504"/>
                    <a:pt x="698" y="4504"/>
                  </a:cubicBezTo>
                  <a:cubicBezTo>
                    <a:pt x="705" y="4504"/>
                    <a:pt x="712" y="4497"/>
                    <a:pt x="720" y="4497"/>
                  </a:cubicBezTo>
                  <a:cubicBezTo>
                    <a:pt x="742" y="4497"/>
                    <a:pt x="758" y="4489"/>
                    <a:pt x="780" y="4489"/>
                  </a:cubicBezTo>
                  <a:cubicBezTo>
                    <a:pt x="787" y="4497"/>
                    <a:pt x="795" y="4489"/>
                    <a:pt x="810" y="4489"/>
                  </a:cubicBezTo>
                  <a:cubicBezTo>
                    <a:pt x="817" y="4489"/>
                    <a:pt x="825" y="4489"/>
                    <a:pt x="832" y="4482"/>
                  </a:cubicBezTo>
                  <a:cubicBezTo>
                    <a:pt x="840" y="4474"/>
                    <a:pt x="840" y="4467"/>
                    <a:pt x="840" y="4452"/>
                  </a:cubicBezTo>
                  <a:lnTo>
                    <a:pt x="847" y="4444"/>
                  </a:lnTo>
                  <a:cubicBezTo>
                    <a:pt x="855" y="4437"/>
                    <a:pt x="862" y="4429"/>
                    <a:pt x="870" y="4429"/>
                  </a:cubicBezTo>
                  <a:cubicBezTo>
                    <a:pt x="885" y="4422"/>
                    <a:pt x="892" y="4414"/>
                    <a:pt x="907" y="4407"/>
                  </a:cubicBezTo>
                  <a:cubicBezTo>
                    <a:pt x="915" y="4407"/>
                    <a:pt x="922" y="4407"/>
                    <a:pt x="930" y="4399"/>
                  </a:cubicBezTo>
                  <a:cubicBezTo>
                    <a:pt x="937" y="4399"/>
                    <a:pt x="937" y="4392"/>
                    <a:pt x="937" y="4377"/>
                  </a:cubicBezTo>
                  <a:cubicBezTo>
                    <a:pt x="937" y="4362"/>
                    <a:pt x="945" y="4354"/>
                    <a:pt x="952" y="4347"/>
                  </a:cubicBezTo>
                  <a:cubicBezTo>
                    <a:pt x="967" y="4324"/>
                    <a:pt x="967" y="4309"/>
                    <a:pt x="975" y="4287"/>
                  </a:cubicBezTo>
                  <a:lnTo>
                    <a:pt x="982" y="4287"/>
                  </a:lnTo>
                  <a:cubicBezTo>
                    <a:pt x="982" y="4295"/>
                    <a:pt x="982" y="4302"/>
                    <a:pt x="990" y="4302"/>
                  </a:cubicBezTo>
                  <a:cubicBezTo>
                    <a:pt x="997" y="4309"/>
                    <a:pt x="997" y="4302"/>
                    <a:pt x="1005" y="4309"/>
                  </a:cubicBezTo>
                  <a:cubicBezTo>
                    <a:pt x="1012" y="4309"/>
                    <a:pt x="1012" y="4309"/>
                    <a:pt x="1012" y="4317"/>
                  </a:cubicBezTo>
                  <a:cubicBezTo>
                    <a:pt x="1020" y="4324"/>
                    <a:pt x="1027" y="4324"/>
                    <a:pt x="1035" y="4339"/>
                  </a:cubicBezTo>
                  <a:cubicBezTo>
                    <a:pt x="1035" y="4354"/>
                    <a:pt x="1035" y="4362"/>
                    <a:pt x="1042" y="4377"/>
                  </a:cubicBezTo>
                  <a:cubicBezTo>
                    <a:pt x="1057" y="4369"/>
                    <a:pt x="1057" y="4369"/>
                    <a:pt x="1072" y="4369"/>
                  </a:cubicBezTo>
                  <a:cubicBezTo>
                    <a:pt x="1087" y="4362"/>
                    <a:pt x="1095" y="4362"/>
                    <a:pt x="1110" y="4362"/>
                  </a:cubicBezTo>
                  <a:cubicBezTo>
                    <a:pt x="1110" y="4347"/>
                    <a:pt x="1117" y="4339"/>
                    <a:pt x="1117" y="4317"/>
                  </a:cubicBezTo>
                  <a:cubicBezTo>
                    <a:pt x="1117" y="4317"/>
                    <a:pt x="1117" y="4317"/>
                    <a:pt x="1117" y="4309"/>
                  </a:cubicBezTo>
                  <a:cubicBezTo>
                    <a:pt x="1117" y="4302"/>
                    <a:pt x="1117" y="4302"/>
                    <a:pt x="1117" y="4295"/>
                  </a:cubicBezTo>
                  <a:cubicBezTo>
                    <a:pt x="1117" y="4287"/>
                    <a:pt x="1117" y="4279"/>
                    <a:pt x="1125" y="4272"/>
                  </a:cubicBezTo>
                  <a:cubicBezTo>
                    <a:pt x="1125" y="4265"/>
                    <a:pt x="1132" y="4265"/>
                    <a:pt x="1132" y="4265"/>
                  </a:cubicBezTo>
                  <a:cubicBezTo>
                    <a:pt x="1147" y="4249"/>
                    <a:pt x="1147" y="4235"/>
                    <a:pt x="1162" y="4219"/>
                  </a:cubicBezTo>
                  <a:cubicBezTo>
                    <a:pt x="1177" y="4205"/>
                    <a:pt x="1177" y="4189"/>
                    <a:pt x="1192" y="4175"/>
                  </a:cubicBezTo>
                  <a:cubicBezTo>
                    <a:pt x="1199" y="4159"/>
                    <a:pt x="1207" y="4152"/>
                    <a:pt x="1215" y="4130"/>
                  </a:cubicBezTo>
                  <a:cubicBezTo>
                    <a:pt x="1215" y="4130"/>
                    <a:pt x="1215" y="4122"/>
                    <a:pt x="1222" y="4115"/>
                  </a:cubicBezTo>
                  <a:cubicBezTo>
                    <a:pt x="1222" y="4115"/>
                    <a:pt x="1222" y="4115"/>
                    <a:pt x="1229" y="4115"/>
                  </a:cubicBezTo>
                  <a:cubicBezTo>
                    <a:pt x="1237" y="4100"/>
                    <a:pt x="1252" y="4092"/>
                    <a:pt x="1275" y="4085"/>
                  </a:cubicBezTo>
                  <a:cubicBezTo>
                    <a:pt x="1282" y="4085"/>
                    <a:pt x="1289" y="4077"/>
                    <a:pt x="1297" y="4077"/>
                  </a:cubicBezTo>
                  <a:cubicBezTo>
                    <a:pt x="1312" y="4062"/>
                    <a:pt x="1327" y="4055"/>
                    <a:pt x="1342" y="4040"/>
                  </a:cubicBezTo>
                  <a:cubicBezTo>
                    <a:pt x="1349" y="4032"/>
                    <a:pt x="1357" y="4025"/>
                    <a:pt x="1364" y="4010"/>
                  </a:cubicBezTo>
                  <a:cubicBezTo>
                    <a:pt x="1372" y="4002"/>
                    <a:pt x="1372" y="4002"/>
                    <a:pt x="1372" y="3995"/>
                  </a:cubicBezTo>
                  <a:cubicBezTo>
                    <a:pt x="1372" y="3972"/>
                    <a:pt x="1357" y="3972"/>
                    <a:pt x="1349" y="3950"/>
                  </a:cubicBezTo>
                  <a:cubicBezTo>
                    <a:pt x="1342" y="3935"/>
                    <a:pt x="1335" y="3927"/>
                    <a:pt x="1327" y="3905"/>
                  </a:cubicBezTo>
                  <a:cubicBezTo>
                    <a:pt x="1319" y="3897"/>
                    <a:pt x="1312" y="3897"/>
                    <a:pt x="1305" y="3890"/>
                  </a:cubicBezTo>
                  <a:cubicBezTo>
                    <a:pt x="1297" y="3882"/>
                    <a:pt x="1297" y="3875"/>
                    <a:pt x="1297" y="3867"/>
                  </a:cubicBezTo>
                  <a:cubicBezTo>
                    <a:pt x="1289" y="3852"/>
                    <a:pt x="1282" y="3837"/>
                    <a:pt x="1275" y="3822"/>
                  </a:cubicBezTo>
                  <a:cubicBezTo>
                    <a:pt x="1259" y="3800"/>
                    <a:pt x="1245" y="3785"/>
                    <a:pt x="1222" y="3762"/>
                  </a:cubicBezTo>
                  <a:cubicBezTo>
                    <a:pt x="1215" y="3755"/>
                    <a:pt x="1207" y="3755"/>
                    <a:pt x="1199" y="3747"/>
                  </a:cubicBezTo>
                  <a:cubicBezTo>
                    <a:pt x="1192" y="3732"/>
                    <a:pt x="1177" y="3725"/>
                    <a:pt x="1170" y="3710"/>
                  </a:cubicBezTo>
                  <a:cubicBezTo>
                    <a:pt x="1170" y="3710"/>
                    <a:pt x="1162" y="3702"/>
                    <a:pt x="1162" y="3695"/>
                  </a:cubicBezTo>
                  <a:cubicBezTo>
                    <a:pt x="1155" y="3680"/>
                    <a:pt x="1147" y="3665"/>
                    <a:pt x="1140" y="3650"/>
                  </a:cubicBezTo>
                  <a:cubicBezTo>
                    <a:pt x="1170" y="3553"/>
                    <a:pt x="1170" y="3553"/>
                    <a:pt x="1170" y="3553"/>
                  </a:cubicBezTo>
                  <a:cubicBezTo>
                    <a:pt x="1170" y="3515"/>
                    <a:pt x="1170" y="3515"/>
                    <a:pt x="1170" y="3515"/>
                  </a:cubicBezTo>
                  <a:cubicBezTo>
                    <a:pt x="1170" y="3500"/>
                    <a:pt x="1170" y="3500"/>
                    <a:pt x="1170" y="3500"/>
                  </a:cubicBezTo>
                  <a:lnTo>
                    <a:pt x="1170" y="3500"/>
                  </a:lnTo>
                  <a:cubicBezTo>
                    <a:pt x="1199" y="3500"/>
                    <a:pt x="1199" y="3500"/>
                    <a:pt x="1199" y="3500"/>
                  </a:cubicBezTo>
                  <a:cubicBezTo>
                    <a:pt x="1215" y="3500"/>
                    <a:pt x="1215" y="3500"/>
                    <a:pt x="1215" y="3500"/>
                  </a:cubicBezTo>
                  <a:cubicBezTo>
                    <a:pt x="1229" y="3500"/>
                    <a:pt x="1237" y="3493"/>
                    <a:pt x="1245" y="3493"/>
                  </a:cubicBezTo>
                  <a:cubicBezTo>
                    <a:pt x="1267" y="3493"/>
                    <a:pt x="1282" y="3493"/>
                    <a:pt x="1289" y="3477"/>
                  </a:cubicBezTo>
                  <a:cubicBezTo>
                    <a:pt x="1297" y="3463"/>
                    <a:pt x="1305" y="3448"/>
                    <a:pt x="1312" y="3433"/>
                  </a:cubicBezTo>
                  <a:cubicBezTo>
                    <a:pt x="1319" y="3433"/>
                    <a:pt x="1319" y="3433"/>
                    <a:pt x="1327" y="3433"/>
                  </a:cubicBezTo>
                  <a:cubicBezTo>
                    <a:pt x="1342" y="3440"/>
                    <a:pt x="1342" y="3455"/>
                    <a:pt x="1357" y="3463"/>
                  </a:cubicBezTo>
                  <a:cubicBezTo>
                    <a:pt x="1372" y="3470"/>
                    <a:pt x="1387" y="3470"/>
                    <a:pt x="1394" y="3485"/>
                  </a:cubicBezTo>
                  <a:cubicBezTo>
                    <a:pt x="1402" y="3493"/>
                    <a:pt x="1402" y="3493"/>
                    <a:pt x="1402" y="3500"/>
                  </a:cubicBezTo>
                  <a:cubicBezTo>
                    <a:pt x="1417" y="3523"/>
                    <a:pt x="1424" y="3545"/>
                    <a:pt x="1447" y="3553"/>
                  </a:cubicBezTo>
                  <a:cubicBezTo>
                    <a:pt x="1462" y="3553"/>
                    <a:pt x="1477" y="3553"/>
                    <a:pt x="1492" y="3560"/>
                  </a:cubicBezTo>
                  <a:lnTo>
                    <a:pt x="1499" y="3567"/>
                  </a:lnTo>
                  <a:cubicBezTo>
                    <a:pt x="1499" y="3575"/>
                    <a:pt x="1499" y="3575"/>
                    <a:pt x="1499" y="3575"/>
                  </a:cubicBezTo>
                  <a:cubicBezTo>
                    <a:pt x="1492" y="3583"/>
                    <a:pt x="1484" y="3583"/>
                    <a:pt x="1484" y="3590"/>
                  </a:cubicBezTo>
                  <a:cubicBezTo>
                    <a:pt x="1484" y="3597"/>
                    <a:pt x="1492" y="3597"/>
                    <a:pt x="1499" y="3605"/>
                  </a:cubicBezTo>
                  <a:cubicBezTo>
                    <a:pt x="1514" y="3613"/>
                    <a:pt x="1522" y="3613"/>
                    <a:pt x="1529" y="3613"/>
                  </a:cubicBezTo>
                  <a:cubicBezTo>
                    <a:pt x="1544" y="3613"/>
                    <a:pt x="1559" y="3620"/>
                    <a:pt x="1567" y="3627"/>
                  </a:cubicBezTo>
                  <a:cubicBezTo>
                    <a:pt x="1582" y="3635"/>
                    <a:pt x="1597" y="3642"/>
                    <a:pt x="1612" y="3650"/>
                  </a:cubicBezTo>
                  <a:cubicBezTo>
                    <a:pt x="1627" y="3650"/>
                    <a:pt x="1634" y="3650"/>
                    <a:pt x="1642" y="3657"/>
                  </a:cubicBezTo>
                  <a:cubicBezTo>
                    <a:pt x="1642" y="3665"/>
                    <a:pt x="1649" y="3665"/>
                    <a:pt x="1649" y="3672"/>
                  </a:cubicBezTo>
                  <a:cubicBezTo>
                    <a:pt x="1649" y="3702"/>
                    <a:pt x="1649" y="3702"/>
                    <a:pt x="1649" y="3702"/>
                  </a:cubicBezTo>
                  <a:cubicBezTo>
                    <a:pt x="1664" y="3702"/>
                    <a:pt x="1664" y="3702"/>
                    <a:pt x="1664" y="3702"/>
                  </a:cubicBezTo>
                  <a:cubicBezTo>
                    <a:pt x="1694" y="3702"/>
                    <a:pt x="1702" y="3695"/>
                    <a:pt x="1724" y="3687"/>
                  </a:cubicBezTo>
                  <a:cubicBezTo>
                    <a:pt x="1747" y="3687"/>
                    <a:pt x="1762" y="3687"/>
                    <a:pt x="1784" y="3687"/>
                  </a:cubicBezTo>
                  <a:cubicBezTo>
                    <a:pt x="1807" y="3680"/>
                    <a:pt x="1822" y="3672"/>
                    <a:pt x="1844" y="3657"/>
                  </a:cubicBezTo>
                  <a:cubicBezTo>
                    <a:pt x="1859" y="3657"/>
                    <a:pt x="1867" y="3657"/>
                    <a:pt x="1882" y="3650"/>
                  </a:cubicBezTo>
                  <a:cubicBezTo>
                    <a:pt x="1889" y="3650"/>
                    <a:pt x="1889" y="3642"/>
                    <a:pt x="1897" y="3642"/>
                  </a:cubicBezTo>
                  <a:cubicBezTo>
                    <a:pt x="1911" y="3642"/>
                    <a:pt x="1927" y="3650"/>
                    <a:pt x="1927" y="3665"/>
                  </a:cubicBezTo>
                  <a:cubicBezTo>
                    <a:pt x="1927" y="3672"/>
                    <a:pt x="1919" y="3672"/>
                    <a:pt x="1919" y="3680"/>
                  </a:cubicBezTo>
                  <a:cubicBezTo>
                    <a:pt x="1919" y="3687"/>
                    <a:pt x="1919" y="3687"/>
                    <a:pt x="1927" y="3695"/>
                  </a:cubicBezTo>
                  <a:cubicBezTo>
                    <a:pt x="1934" y="3710"/>
                    <a:pt x="1941" y="3710"/>
                    <a:pt x="1957" y="3717"/>
                  </a:cubicBezTo>
                  <a:cubicBezTo>
                    <a:pt x="1971" y="3732"/>
                    <a:pt x="1979" y="3740"/>
                    <a:pt x="2001" y="3747"/>
                  </a:cubicBezTo>
                  <a:cubicBezTo>
                    <a:pt x="2017" y="3762"/>
                    <a:pt x="2031" y="3770"/>
                    <a:pt x="2054" y="3770"/>
                  </a:cubicBezTo>
                  <a:cubicBezTo>
                    <a:pt x="2069" y="3777"/>
                    <a:pt x="2076" y="3785"/>
                    <a:pt x="2091" y="3785"/>
                  </a:cubicBezTo>
                  <a:cubicBezTo>
                    <a:pt x="2114" y="3785"/>
                    <a:pt x="2129" y="3777"/>
                    <a:pt x="2151" y="3770"/>
                  </a:cubicBezTo>
                  <a:cubicBezTo>
                    <a:pt x="2159" y="3770"/>
                    <a:pt x="2166" y="3762"/>
                    <a:pt x="2174" y="3762"/>
                  </a:cubicBezTo>
                  <a:cubicBezTo>
                    <a:pt x="2181" y="3755"/>
                    <a:pt x="2189" y="3747"/>
                    <a:pt x="2196" y="3740"/>
                  </a:cubicBezTo>
                  <a:cubicBezTo>
                    <a:pt x="2204" y="3740"/>
                    <a:pt x="2204" y="3732"/>
                    <a:pt x="2211" y="3725"/>
                  </a:cubicBezTo>
                  <a:cubicBezTo>
                    <a:pt x="2219" y="3725"/>
                    <a:pt x="2226" y="3717"/>
                    <a:pt x="2234" y="3710"/>
                  </a:cubicBezTo>
                  <a:cubicBezTo>
                    <a:pt x="2241" y="3702"/>
                    <a:pt x="2241" y="3702"/>
                    <a:pt x="2249" y="3695"/>
                  </a:cubicBezTo>
                  <a:cubicBezTo>
                    <a:pt x="2264" y="3687"/>
                    <a:pt x="2264" y="3680"/>
                    <a:pt x="2271" y="3672"/>
                  </a:cubicBezTo>
                  <a:cubicBezTo>
                    <a:pt x="2301" y="3635"/>
                    <a:pt x="2316" y="3613"/>
                    <a:pt x="2346" y="3575"/>
                  </a:cubicBezTo>
                  <a:cubicBezTo>
                    <a:pt x="2354" y="3567"/>
                    <a:pt x="2354" y="3560"/>
                    <a:pt x="2361" y="3553"/>
                  </a:cubicBezTo>
                  <a:cubicBezTo>
                    <a:pt x="2369" y="3545"/>
                    <a:pt x="2376" y="3545"/>
                    <a:pt x="2384" y="3530"/>
                  </a:cubicBezTo>
                  <a:cubicBezTo>
                    <a:pt x="2391" y="3515"/>
                    <a:pt x="2391" y="3507"/>
                    <a:pt x="2391" y="3485"/>
                  </a:cubicBezTo>
                  <a:lnTo>
                    <a:pt x="2399" y="3477"/>
                  </a:lnTo>
                  <a:cubicBezTo>
                    <a:pt x="2399" y="3425"/>
                    <a:pt x="2399" y="3425"/>
                    <a:pt x="2399" y="3425"/>
                  </a:cubicBezTo>
                  <a:cubicBezTo>
                    <a:pt x="2399" y="3418"/>
                    <a:pt x="2399" y="3410"/>
                    <a:pt x="2399" y="3403"/>
                  </a:cubicBezTo>
                  <a:cubicBezTo>
                    <a:pt x="2399" y="3365"/>
                    <a:pt x="2391" y="3343"/>
                    <a:pt x="2376" y="3305"/>
                  </a:cubicBezTo>
                  <a:lnTo>
                    <a:pt x="2376" y="3298"/>
                  </a:lnTo>
                  <a:cubicBezTo>
                    <a:pt x="2369" y="3275"/>
                    <a:pt x="2361" y="3268"/>
                    <a:pt x="2346" y="3253"/>
                  </a:cubicBezTo>
                  <a:cubicBezTo>
                    <a:pt x="2346" y="3245"/>
                    <a:pt x="2339" y="3238"/>
                    <a:pt x="2331" y="3230"/>
                  </a:cubicBezTo>
                  <a:cubicBezTo>
                    <a:pt x="2331" y="3223"/>
                    <a:pt x="2324" y="3215"/>
                    <a:pt x="2324" y="3208"/>
                  </a:cubicBezTo>
                  <a:cubicBezTo>
                    <a:pt x="2316" y="3200"/>
                    <a:pt x="2316" y="3193"/>
                    <a:pt x="2316" y="3185"/>
                  </a:cubicBezTo>
                  <a:cubicBezTo>
                    <a:pt x="2316" y="3178"/>
                    <a:pt x="2324" y="3170"/>
                    <a:pt x="2324" y="3155"/>
                  </a:cubicBezTo>
                  <a:cubicBezTo>
                    <a:pt x="2331" y="3148"/>
                    <a:pt x="2331" y="3140"/>
                    <a:pt x="2339" y="3125"/>
                  </a:cubicBezTo>
                  <a:cubicBezTo>
                    <a:pt x="2339" y="3118"/>
                    <a:pt x="2346" y="3110"/>
                    <a:pt x="2346" y="3103"/>
                  </a:cubicBezTo>
                  <a:cubicBezTo>
                    <a:pt x="2346" y="3088"/>
                    <a:pt x="2346" y="3080"/>
                    <a:pt x="2339" y="3066"/>
                  </a:cubicBezTo>
                  <a:cubicBezTo>
                    <a:pt x="2331" y="3050"/>
                    <a:pt x="2324" y="3043"/>
                    <a:pt x="2316" y="3028"/>
                  </a:cubicBezTo>
                  <a:cubicBezTo>
                    <a:pt x="2316" y="3020"/>
                    <a:pt x="2316" y="3013"/>
                    <a:pt x="2309" y="3006"/>
                  </a:cubicBezTo>
                  <a:cubicBezTo>
                    <a:pt x="2309" y="2983"/>
                    <a:pt x="2301" y="2968"/>
                    <a:pt x="2301" y="2953"/>
                  </a:cubicBezTo>
                  <a:cubicBezTo>
                    <a:pt x="2294" y="2930"/>
                    <a:pt x="2294" y="2923"/>
                    <a:pt x="2286" y="2908"/>
                  </a:cubicBezTo>
                  <a:cubicBezTo>
                    <a:pt x="2286" y="2901"/>
                    <a:pt x="2279" y="2901"/>
                    <a:pt x="2279" y="2893"/>
                  </a:cubicBezTo>
                  <a:cubicBezTo>
                    <a:pt x="2279" y="2878"/>
                    <a:pt x="2279" y="2871"/>
                    <a:pt x="2286" y="2855"/>
                  </a:cubicBezTo>
                  <a:cubicBezTo>
                    <a:pt x="2286" y="2848"/>
                    <a:pt x="2286" y="2848"/>
                    <a:pt x="2294" y="2841"/>
                  </a:cubicBezTo>
                  <a:cubicBezTo>
                    <a:pt x="2294" y="2833"/>
                    <a:pt x="2294" y="2833"/>
                    <a:pt x="2301" y="2833"/>
                  </a:cubicBezTo>
                  <a:cubicBezTo>
                    <a:pt x="2309" y="2818"/>
                    <a:pt x="2316" y="2811"/>
                    <a:pt x="2331" y="2796"/>
                  </a:cubicBezTo>
                  <a:cubicBezTo>
                    <a:pt x="2331" y="2788"/>
                    <a:pt x="2339" y="2788"/>
                    <a:pt x="2339" y="2781"/>
                  </a:cubicBezTo>
                  <a:cubicBezTo>
                    <a:pt x="2339" y="2773"/>
                    <a:pt x="2339" y="2773"/>
                    <a:pt x="2339" y="2766"/>
                  </a:cubicBezTo>
                  <a:cubicBezTo>
                    <a:pt x="2339" y="2758"/>
                    <a:pt x="2346" y="2758"/>
                    <a:pt x="2354" y="2751"/>
                  </a:cubicBezTo>
                  <a:cubicBezTo>
                    <a:pt x="2361" y="2743"/>
                    <a:pt x="2369" y="2736"/>
                    <a:pt x="2376" y="2728"/>
                  </a:cubicBezTo>
                  <a:cubicBezTo>
                    <a:pt x="2391" y="2721"/>
                    <a:pt x="2406" y="2721"/>
                    <a:pt x="2421" y="2713"/>
                  </a:cubicBezTo>
                  <a:cubicBezTo>
                    <a:pt x="2436" y="2713"/>
                    <a:pt x="2451" y="2706"/>
                    <a:pt x="2466" y="2706"/>
                  </a:cubicBezTo>
                  <a:cubicBezTo>
                    <a:pt x="2474" y="2698"/>
                    <a:pt x="2481" y="2698"/>
                    <a:pt x="2481" y="2691"/>
                  </a:cubicBezTo>
                  <a:cubicBezTo>
                    <a:pt x="2488" y="2683"/>
                    <a:pt x="2496" y="2676"/>
                    <a:pt x="2504" y="2676"/>
                  </a:cubicBezTo>
                  <a:cubicBezTo>
                    <a:pt x="2511" y="2676"/>
                    <a:pt x="2518" y="2676"/>
                    <a:pt x="2526" y="2676"/>
                  </a:cubicBezTo>
                  <a:cubicBezTo>
                    <a:pt x="2534" y="2676"/>
                    <a:pt x="2541" y="2668"/>
                    <a:pt x="2541" y="2668"/>
                  </a:cubicBezTo>
                  <a:cubicBezTo>
                    <a:pt x="2556" y="2653"/>
                    <a:pt x="2571" y="2646"/>
                    <a:pt x="2578" y="2638"/>
                  </a:cubicBezTo>
                  <a:cubicBezTo>
                    <a:pt x="2601" y="2616"/>
                    <a:pt x="2608" y="2601"/>
                    <a:pt x="2616" y="2571"/>
                  </a:cubicBezTo>
                  <a:cubicBezTo>
                    <a:pt x="2623" y="2541"/>
                    <a:pt x="2631" y="2526"/>
                    <a:pt x="2646" y="2496"/>
                  </a:cubicBezTo>
                  <a:cubicBezTo>
                    <a:pt x="2646" y="2481"/>
                    <a:pt x="2653" y="2473"/>
                    <a:pt x="2653" y="2451"/>
                  </a:cubicBezTo>
                  <a:cubicBezTo>
                    <a:pt x="2653" y="2406"/>
                    <a:pt x="2653" y="2376"/>
                    <a:pt x="2653" y="2331"/>
                  </a:cubicBezTo>
                  <a:cubicBezTo>
                    <a:pt x="2653" y="2286"/>
                    <a:pt x="2653" y="2264"/>
                    <a:pt x="2653" y="2226"/>
                  </a:cubicBezTo>
                  <a:cubicBezTo>
                    <a:pt x="2653" y="2181"/>
                    <a:pt x="2661" y="2166"/>
                    <a:pt x="2661" y="2121"/>
                  </a:cubicBezTo>
                  <a:cubicBezTo>
                    <a:pt x="2661" y="2084"/>
                    <a:pt x="2661" y="2061"/>
                    <a:pt x="2653" y="2024"/>
                  </a:cubicBezTo>
                  <a:cubicBezTo>
                    <a:pt x="2653" y="2009"/>
                    <a:pt x="2646" y="2001"/>
                    <a:pt x="2646" y="1986"/>
                  </a:cubicBezTo>
                  <a:cubicBezTo>
                    <a:pt x="2646" y="1979"/>
                    <a:pt x="2646" y="1971"/>
                    <a:pt x="2646" y="1964"/>
                  </a:cubicBezTo>
                  <a:cubicBezTo>
                    <a:pt x="2646" y="1956"/>
                    <a:pt x="2638" y="1956"/>
                    <a:pt x="2638" y="1949"/>
                  </a:cubicBezTo>
                  <a:cubicBezTo>
                    <a:pt x="2638" y="1941"/>
                    <a:pt x="2646" y="1941"/>
                    <a:pt x="2646" y="1941"/>
                  </a:cubicBezTo>
                  <a:cubicBezTo>
                    <a:pt x="2653" y="1934"/>
                    <a:pt x="2661" y="1934"/>
                    <a:pt x="2661" y="1934"/>
                  </a:cubicBezTo>
                  <a:cubicBezTo>
                    <a:pt x="2676" y="1926"/>
                    <a:pt x="2683" y="1919"/>
                    <a:pt x="2691" y="1904"/>
                  </a:cubicBezTo>
                  <a:cubicBezTo>
                    <a:pt x="2698" y="1881"/>
                    <a:pt x="2706" y="1866"/>
                    <a:pt x="2713" y="1844"/>
                  </a:cubicBezTo>
                  <a:cubicBezTo>
                    <a:pt x="2721" y="1829"/>
                    <a:pt x="2728" y="1821"/>
                    <a:pt x="2736" y="1807"/>
                  </a:cubicBezTo>
                  <a:cubicBezTo>
                    <a:pt x="2736" y="1799"/>
                    <a:pt x="2743" y="1791"/>
                    <a:pt x="2743" y="1784"/>
                  </a:cubicBezTo>
                  <a:cubicBezTo>
                    <a:pt x="2758" y="1761"/>
                    <a:pt x="2758" y="1747"/>
                    <a:pt x="2766" y="1724"/>
                  </a:cubicBezTo>
                  <a:cubicBezTo>
                    <a:pt x="2766" y="1701"/>
                    <a:pt x="2766" y="1687"/>
                    <a:pt x="2773" y="1672"/>
                  </a:cubicBezTo>
                  <a:cubicBezTo>
                    <a:pt x="2773" y="1642"/>
                    <a:pt x="2781" y="1627"/>
                    <a:pt x="2781" y="1604"/>
                  </a:cubicBezTo>
                  <a:cubicBezTo>
                    <a:pt x="2781" y="1589"/>
                    <a:pt x="2781" y="1582"/>
                    <a:pt x="2781" y="1567"/>
                  </a:cubicBezTo>
                  <a:cubicBezTo>
                    <a:pt x="2781" y="1559"/>
                    <a:pt x="2796" y="1552"/>
                    <a:pt x="2796" y="1537"/>
                  </a:cubicBezTo>
                  <a:cubicBezTo>
                    <a:pt x="2803" y="1514"/>
                    <a:pt x="2803" y="1499"/>
                    <a:pt x="2803" y="1477"/>
                  </a:cubicBezTo>
                  <a:cubicBezTo>
                    <a:pt x="2803" y="1364"/>
                    <a:pt x="2788" y="1304"/>
                    <a:pt x="2773" y="1192"/>
                  </a:cubicBezTo>
                  <a:cubicBezTo>
                    <a:pt x="2766" y="1162"/>
                    <a:pt x="2758" y="1139"/>
                    <a:pt x="2758" y="1109"/>
                  </a:cubicBezTo>
                  <a:cubicBezTo>
                    <a:pt x="2758" y="1102"/>
                    <a:pt x="2751" y="1095"/>
                    <a:pt x="2751" y="1095"/>
                  </a:cubicBezTo>
                  <a:cubicBezTo>
                    <a:pt x="2751" y="1072"/>
                    <a:pt x="2751" y="1065"/>
                    <a:pt x="2743" y="1049"/>
                  </a:cubicBezTo>
                  <a:cubicBezTo>
                    <a:pt x="2743" y="1042"/>
                    <a:pt x="2736" y="1042"/>
                    <a:pt x="2736" y="1035"/>
                  </a:cubicBezTo>
                  <a:cubicBezTo>
                    <a:pt x="2728" y="1012"/>
                    <a:pt x="2728" y="990"/>
                    <a:pt x="2721" y="960"/>
                  </a:cubicBezTo>
                  <a:cubicBezTo>
                    <a:pt x="2713" y="945"/>
                    <a:pt x="2713" y="937"/>
                    <a:pt x="2706" y="922"/>
                  </a:cubicBezTo>
                  <a:cubicBezTo>
                    <a:pt x="2698" y="892"/>
                    <a:pt x="2698" y="877"/>
                    <a:pt x="2691" y="847"/>
                  </a:cubicBezTo>
                  <a:cubicBezTo>
                    <a:pt x="2683" y="825"/>
                    <a:pt x="2683" y="810"/>
                    <a:pt x="2676" y="795"/>
                  </a:cubicBezTo>
                  <a:cubicBezTo>
                    <a:pt x="2668" y="787"/>
                    <a:pt x="2668" y="780"/>
                    <a:pt x="2661" y="772"/>
                  </a:cubicBezTo>
                  <a:cubicBezTo>
                    <a:pt x="2646" y="742"/>
                    <a:pt x="2631" y="720"/>
                    <a:pt x="2616" y="690"/>
                  </a:cubicBezTo>
                  <a:cubicBezTo>
                    <a:pt x="2601" y="652"/>
                    <a:pt x="2601" y="637"/>
                    <a:pt x="2586" y="600"/>
                  </a:cubicBezTo>
                  <a:cubicBezTo>
                    <a:pt x="2578" y="592"/>
                    <a:pt x="2578" y="585"/>
                    <a:pt x="2571" y="570"/>
                  </a:cubicBezTo>
                  <a:cubicBezTo>
                    <a:pt x="2564" y="548"/>
                    <a:pt x="2556" y="540"/>
                    <a:pt x="2556" y="518"/>
                  </a:cubicBezTo>
                  <a:cubicBezTo>
                    <a:pt x="2556" y="495"/>
                    <a:pt x="2556" y="488"/>
                    <a:pt x="2564" y="465"/>
                  </a:cubicBezTo>
                  <a:cubicBezTo>
                    <a:pt x="2571" y="458"/>
                    <a:pt x="2578" y="450"/>
                    <a:pt x="2578" y="443"/>
                  </a:cubicBezTo>
                  <a:cubicBezTo>
                    <a:pt x="2586" y="443"/>
                    <a:pt x="2586" y="435"/>
                    <a:pt x="2586" y="435"/>
                  </a:cubicBezTo>
                  <a:cubicBezTo>
                    <a:pt x="2594" y="428"/>
                    <a:pt x="2601" y="420"/>
                    <a:pt x="2601" y="413"/>
                  </a:cubicBezTo>
                  <a:cubicBezTo>
                    <a:pt x="2608" y="405"/>
                    <a:pt x="2608" y="398"/>
                    <a:pt x="2608" y="383"/>
                  </a:cubicBezTo>
                  <a:cubicBezTo>
                    <a:pt x="2608" y="375"/>
                    <a:pt x="2601" y="368"/>
                    <a:pt x="2601" y="360"/>
                  </a:cubicBezTo>
                  <a:cubicBezTo>
                    <a:pt x="2601" y="353"/>
                    <a:pt x="2608" y="345"/>
                    <a:pt x="2616" y="338"/>
                  </a:cubicBezTo>
                  <a:cubicBezTo>
                    <a:pt x="2631" y="330"/>
                    <a:pt x="2638" y="323"/>
                    <a:pt x="2646" y="308"/>
                  </a:cubicBezTo>
                  <a:cubicBezTo>
                    <a:pt x="2653" y="293"/>
                    <a:pt x="2661" y="285"/>
                    <a:pt x="2661" y="263"/>
                  </a:cubicBezTo>
                  <a:cubicBezTo>
                    <a:pt x="2661" y="248"/>
                    <a:pt x="2653" y="248"/>
                    <a:pt x="2646" y="233"/>
                  </a:cubicBezTo>
                  <a:cubicBezTo>
                    <a:pt x="2646" y="225"/>
                    <a:pt x="2646" y="218"/>
                    <a:pt x="2646" y="203"/>
                  </a:cubicBezTo>
                  <a:cubicBezTo>
                    <a:pt x="2638" y="188"/>
                    <a:pt x="2638" y="180"/>
                    <a:pt x="2638" y="158"/>
                  </a:cubicBezTo>
                  <a:cubicBezTo>
                    <a:pt x="2638" y="120"/>
                    <a:pt x="2638" y="120"/>
                    <a:pt x="2638" y="120"/>
                  </a:cubicBezTo>
                  <a:cubicBezTo>
                    <a:pt x="2646" y="128"/>
                    <a:pt x="2646" y="135"/>
                    <a:pt x="2653" y="135"/>
                  </a:cubicBezTo>
                  <a:cubicBezTo>
                    <a:pt x="2653" y="143"/>
                    <a:pt x="2661" y="135"/>
                    <a:pt x="2661" y="143"/>
                  </a:cubicBezTo>
                  <a:cubicBezTo>
                    <a:pt x="2668" y="150"/>
                    <a:pt x="2676" y="158"/>
                    <a:pt x="2683" y="165"/>
                  </a:cubicBezTo>
                  <a:cubicBezTo>
                    <a:pt x="2691" y="188"/>
                    <a:pt x="2706" y="203"/>
                    <a:pt x="2728" y="203"/>
                  </a:cubicBezTo>
                  <a:cubicBezTo>
                    <a:pt x="2743" y="203"/>
                    <a:pt x="2743" y="188"/>
                    <a:pt x="2758" y="180"/>
                  </a:cubicBezTo>
                  <a:cubicBezTo>
                    <a:pt x="2758" y="180"/>
                    <a:pt x="2758" y="173"/>
                    <a:pt x="2766" y="173"/>
                  </a:cubicBezTo>
                  <a:cubicBezTo>
                    <a:pt x="2766" y="173"/>
                    <a:pt x="2773" y="180"/>
                    <a:pt x="2773" y="188"/>
                  </a:cubicBezTo>
                  <a:cubicBezTo>
                    <a:pt x="2781" y="188"/>
                    <a:pt x="2788" y="188"/>
                    <a:pt x="2803" y="188"/>
                  </a:cubicBezTo>
                  <a:cubicBezTo>
                    <a:pt x="2818" y="188"/>
                    <a:pt x="2826" y="180"/>
                    <a:pt x="2841" y="173"/>
                  </a:cubicBezTo>
                  <a:cubicBezTo>
                    <a:pt x="2848" y="165"/>
                    <a:pt x="2856" y="165"/>
                    <a:pt x="2871" y="158"/>
                  </a:cubicBezTo>
                  <a:cubicBezTo>
                    <a:pt x="2893" y="135"/>
                    <a:pt x="2893" y="113"/>
                    <a:pt x="2901" y="90"/>
                  </a:cubicBezTo>
                  <a:cubicBezTo>
                    <a:pt x="2908" y="75"/>
                    <a:pt x="2916" y="68"/>
                    <a:pt x="2916" y="53"/>
                  </a:cubicBezTo>
                  <a:cubicBezTo>
                    <a:pt x="2923" y="38"/>
                    <a:pt x="2923" y="23"/>
                    <a:pt x="2938" y="23"/>
                  </a:cubicBezTo>
                  <a:cubicBezTo>
                    <a:pt x="2953" y="15"/>
                    <a:pt x="2961" y="15"/>
                    <a:pt x="2968" y="15"/>
                  </a:cubicBezTo>
                  <a:cubicBezTo>
                    <a:pt x="2983" y="8"/>
                    <a:pt x="2991" y="0"/>
                    <a:pt x="2998" y="15"/>
                  </a:cubicBezTo>
                  <a:cubicBezTo>
                    <a:pt x="3013" y="30"/>
                    <a:pt x="3006" y="45"/>
                    <a:pt x="3013" y="60"/>
                  </a:cubicBezTo>
                  <a:cubicBezTo>
                    <a:pt x="3021" y="68"/>
                    <a:pt x="3028" y="75"/>
                    <a:pt x="3043" y="75"/>
                  </a:cubicBezTo>
                  <a:cubicBezTo>
                    <a:pt x="3065" y="90"/>
                    <a:pt x="3065" y="113"/>
                    <a:pt x="3073" y="135"/>
                  </a:cubicBezTo>
                  <a:cubicBezTo>
                    <a:pt x="3073" y="150"/>
                    <a:pt x="3081" y="158"/>
                    <a:pt x="3088" y="173"/>
                  </a:cubicBezTo>
                  <a:cubicBezTo>
                    <a:pt x="3096" y="188"/>
                    <a:pt x="3103" y="195"/>
                    <a:pt x="3118" y="203"/>
                  </a:cubicBezTo>
                  <a:cubicBezTo>
                    <a:pt x="3133" y="210"/>
                    <a:pt x="3141" y="218"/>
                    <a:pt x="3148" y="225"/>
                  </a:cubicBezTo>
                  <a:cubicBezTo>
                    <a:pt x="3163" y="233"/>
                    <a:pt x="3171" y="240"/>
                    <a:pt x="3178" y="248"/>
                  </a:cubicBezTo>
                  <a:cubicBezTo>
                    <a:pt x="3186" y="263"/>
                    <a:pt x="3200" y="263"/>
                    <a:pt x="3216" y="278"/>
                  </a:cubicBezTo>
                  <a:cubicBezTo>
                    <a:pt x="3223" y="285"/>
                    <a:pt x="3230" y="293"/>
                    <a:pt x="3238" y="300"/>
                  </a:cubicBezTo>
                  <a:cubicBezTo>
                    <a:pt x="3260" y="315"/>
                    <a:pt x="3276" y="338"/>
                    <a:pt x="3290" y="360"/>
                  </a:cubicBezTo>
                  <a:cubicBezTo>
                    <a:pt x="3313" y="383"/>
                    <a:pt x="3313" y="398"/>
                    <a:pt x="3328" y="420"/>
                  </a:cubicBezTo>
                  <a:cubicBezTo>
                    <a:pt x="3343" y="450"/>
                    <a:pt x="3358" y="458"/>
                    <a:pt x="3373" y="480"/>
                  </a:cubicBezTo>
                  <a:cubicBezTo>
                    <a:pt x="3388" y="502"/>
                    <a:pt x="3395" y="518"/>
                    <a:pt x="3410" y="532"/>
                  </a:cubicBezTo>
                  <a:cubicBezTo>
                    <a:pt x="3418" y="540"/>
                    <a:pt x="3425" y="540"/>
                    <a:pt x="3433" y="548"/>
                  </a:cubicBezTo>
                  <a:cubicBezTo>
                    <a:pt x="3455" y="570"/>
                    <a:pt x="3470" y="585"/>
                    <a:pt x="3485" y="608"/>
                  </a:cubicBezTo>
                  <a:cubicBezTo>
                    <a:pt x="3493" y="622"/>
                    <a:pt x="3500" y="630"/>
                    <a:pt x="3508" y="637"/>
                  </a:cubicBezTo>
                  <a:cubicBezTo>
                    <a:pt x="3523" y="652"/>
                    <a:pt x="3523" y="660"/>
                    <a:pt x="3538" y="675"/>
                  </a:cubicBezTo>
                  <a:cubicBezTo>
                    <a:pt x="3553" y="697"/>
                    <a:pt x="3560" y="712"/>
                    <a:pt x="3583" y="727"/>
                  </a:cubicBezTo>
                  <a:cubicBezTo>
                    <a:pt x="3598" y="742"/>
                    <a:pt x="3605" y="757"/>
                    <a:pt x="3620" y="772"/>
                  </a:cubicBezTo>
                  <a:cubicBezTo>
                    <a:pt x="3635" y="787"/>
                    <a:pt x="3643" y="795"/>
                    <a:pt x="3650" y="817"/>
                  </a:cubicBezTo>
                  <a:cubicBezTo>
                    <a:pt x="3658" y="825"/>
                    <a:pt x="3658" y="832"/>
                    <a:pt x="3658" y="840"/>
                  </a:cubicBezTo>
                  <a:cubicBezTo>
                    <a:pt x="3658" y="855"/>
                    <a:pt x="3673" y="855"/>
                    <a:pt x="3673" y="862"/>
                  </a:cubicBezTo>
                  <a:cubicBezTo>
                    <a:pt x="3680" y="885"/>
                    <a:pt x="3688" y="892"/>
                    <a:pt x="3695" y="907"/>
                  </a:cubicBezTo>
                  <a:cubicBezTo>
                    <a:pt x="3710" y="945"/>
                    <a:pt x="3710" y="967"/>
                    <a:pt x="3733" y="997"/>
                  </a:cubicBezTo>
                  <a:cubicBezTo>
                    <a:pt x="3740" y="1005"/>
                    <a:pt x="3747" y="1012"/>
                    <a:pt x="3763" y="1027"/>
                  </a:cubicBezTo>
                  <a:cubicBezTo>
                    <a:pt x="3777" y="1049"/>
                    <a:pt x="3785" y="1065"/>
                    <a:pt x="3800" y="1087"/>
                  </a:cubicBezTo>
                  <a:cubicBezTo>
                    <a:pt x="3807" y="1095"/>
                    <a:pt x="3807" y="1102"/>
                    <a:pt x="3815" y="1109"/>
                  </a:cubicBezTo>
                  <a:cubicBezTo>
                    <a:pt x="3815" y="1117"/>
                    <a:pt x="3823" y="1117"/>
                    <a:pt x="3823" y="1125"/>
                  </a:cubicBezTo>
                  <a:cubicBezTo>
                    <a:pt x="3830" y="1132"/>
                    <a:pt x="3837" y="1139"/>
                    <a:pt x="3837" y="1147"/>
                  </a:cubicBezTo>
                  <a:cubicBezTo>
                    <a:pt x="3853" y="1177"/>
                    <a:pt x="3875" y="1192"/>
                    <a:pt x="3890" y="1222"/>
                  </a:cubicBezTo>
                  <a:cubicBezTo>
                    <a:pt x="3897" y="1229"/>
                    <a:pt x="3905" y="1237"/>
                    <a:pt x="3905" y="1252"/>
                  </a:cubicBezTo>
                  <a:cubicBezTo>
                    <a:pt x="3920" y="1252"/>
                    <a:pt x="3920" y="1267"/>
                    <a:pt x="3927" y="1274"/>
                  </a:cubicBezTo>
                  <a:cubicBezTo>
                    <a:pt x="3942" y="1289"/>
                    <a:pt x="3957" y="1297"/>
                    <a:pt x="3965" y="1312"/>
                  </a:cubicBezTo>
                  <a:cubicBezTo>
                    <a:pt x="3987" y="1342"/>
                    <a:pt x="3995" y="1357"/>
                    <a:pt x="4017" y="1372"/>
                  </a:cubicBezTo>
                  <a:cubicBezTo>
                    <a:pt x="4032" y="1387"/>
                    <a:pt x="4047" y="1387"/>
                    <a:pt x="4062" y="1402"/>
                  </a:cubicBezTo>
                  <a:cubicBezTo>
                    <a:pt x="4062" y="1402"/>
                    <a:pt x="4062" y="1409"/>
                    <a:pt x="4070" y="1417"/>
                  </a:cubicBezTo>
                  <a:cubicBezTo>
                    <a:pt x="4077" y="1424"/>
                    <a:pt x="4085" y="1432"/>
                    <a:pt x="4100" y="1447"/>
                  </a:cubicBezTo>
                  <a:cubicBezTo>
                    <a:pt x="4107" y="1454"/>
                    <a:pt x="4107" y="1462"/>
                    <a:pt x="4115" y="1462"/>
                  </a:cubicBezTo>
                  <a:cubicBezTo>
                    <a:pt x="4122" y="1477"/>
                    <a:pt x="4130" y="1484"/>
                    <a:pt x="4137" y="1492"/>
                  </a:cubicBezTo>
                  <a:cubicBezTo>
                    <a:pt x="4152" y="1514"/>
                    <a:pt x="4160" y="1529"/>
                    <a:pt x="4167" y="1544"/>
                  </a:cubicBezTo>
                  <a:cubicBezTo>
                    <a:pt x="4175" y="1559"/>
                    <a:pt x="4182" y="1559"/>
                    <a:pt x="4197" y="1567"/>
                  </a:cubicBezTo>
                  <a:cubicBezTo>
                    <a:pt x="4212" y="1582"/>
                    <a:pt x="4220" y="1582"/>
                    <a:pt x="4235" y="1597"/>
                  </a:cubicBezTo>
                  <a:cubicBezTo>
                    <a:pt x="4242" y="1604"/>
                    <a:pt x="4242" y="1612"/>
                    <a:pt x="4250" y="1612"/>
                  </a:cubicBezTo>
                  <a:cubicBezTo>
                    <a:pt x="4280" y="1634"/>
                    <a:pt x="4295" y="1649"/>
                    <a:pt x="4324" y="1664"/>
                  </a:cubicBezTo>
                  <a:cubicBezTo>
                    <a:pt x="4332" y="1672"/>
                    <a:pt x="4340" y="1679"/>
                    <a:pt x="4347" y="1679"/>
                  </a:cubicBezTo>
                  <a:cubicBezTo>
                    <a:pt x="4362" y="1687"/>
                    <a:pt x="4362" y="1694"/>
                    <a:pt x="4377" y="1694"/>
                  </a:cubicBezTo>
                  <a:cubicBezTo>
                    <a:pt x="4392" y="1709"/>
                    <a:pt x="4407" y="1717"/>
                    <a:pt x="4415" y="1724"/>
                  </a:cubicBezTo>
                  <a:cubicBezTo>
                    <a:pt x="4430" y="1731"/>
                    <a:pt x="4437" y="1739"/>
                    <a:pt x="4452" y="1754"/>
                  </a:cubicBezTo>
                  <a:cubicBezTo>
                    <a:pt x="4452" y="1754"/>
                    <a:pt x="4459" y="1754"/>
                    <a:pt x="4459" y="1761"/>
                  </a:cubicBezTo>
                  <a:cubicBezTo>
                    <a:pt x="4467" y="1769"/>
                    <a:pt x="4467" y="1769"/>
                    <a:pt x="4475" y="1777"/>
                  </a:cubicBezTo>
                  <a:cubicBezTo>
                    <a:pt x="4489" y="1784"/>
                    <a:pt x="4497" y="1791"/>
                    <a:pt x="4512" y="1807"/>
                  </a:cubicBezTo>
                  <a:cubicBezTo>
                    <a:pt x="4527" y="1821"/>
                    <a:pt x="4535" y="1829"/>
                    <a:pt x="4549" y="1837"/>
                  </a:cubicBezTo>
                  <a:cubicBezTo>
                    <a:pt x="4564" y="1844"/>
                    <a:pt x="4572" y="1851"/>
                    <a:pt x="4579" y="1859"/>
                  </a:cubicBezTo>
                  <a:cubicBezTo>
                    <a:pt x="4587" y="1859"/>
                    <a:pt x="4602" y="1866"/>
                    <a:pt x="4609" y="1874"/>
                  </a:cubicBezTo>
                  <a:cubicBezTo>
                    <a:pt x="4617" y="1889"/>
                    <a:pt x="4617" y="1896"/>
                    <a:pt x="4624" y="1911"/>
                  </a:cubicBezTo>
                  <a:cubicBezTo>
                    <a:pt x="4632" y="1919"/>
                    <a:pt x="4639" y="1926"/>
                    <a:pt x="4647" y="1934"/>
                  </a:cubicBezTo>
                  <a:cubicBezTo>
                    <a:pt x="4654" y="1949"/>
                    <a:pt x="4654" y="1956"/>
                    <a:pt x="4669" y="1964"/>
                  </a:cubicBezTo>
                  <a:cubicBezTo>
                    <a:pt x="4684" y="1979"/>
                    <a:pt x="4692" y="1979"/>
                    <a:pt x="4714" y="1986"/>
                  </a:cubicBezTo>
                  <a:cubicBezTo>
                    <a:pt x="4722" y="1994"/>
                    <a:pt x="4729" y="2001"/>
                    <a:pt x="4744" y="2009"/>
                  </a:cubicBezTo>
                  <a:cubicBezTo>
                    <a:pt x="4759" y="2009"/>
                    <a:pt x="4767" y="2016"/>
                    <a:pt x="4774" y="2016"/>
                  </a:cubicBezTo>
                  <a:cubicBezTo>
                    <a:pt x="4812" y="2039"/>
                    <a:pt x="4834" y="2054"/>
                    <a:pt x="4872" y="2069"/>
                  </a:cubicBezTo>
                  <a:cubicBezTo>
                    <a:pt x="4894" y="2091"/>
                    <a:pt x="4917" y="2099"/>
                    <a:pt x="4947" y="2114"/>
                  </a:cubicBezTo>
                  <a:cubicBezTo>
                    <a:pt x="4962" y="2121"/>
                    <a:pt x="4969" y="2129"/>
                    <a:pt x="4984" y="2129"/>
                  </a:cubicBezTo>
                  <a:cubicBezTo>
                    <a:pt x="4999" y="2136"/>
                    <a:pt x="5007" y="2136"/>
                    <a:pt x="5022" y="2136"/>
                  </a:cubicBezTo>
                  <a:cubicBezTo>
                    <a:pt x="5052" y="2144"/>
                    <a:pt x="5066" y="2159"/>
                    <a:pt x="5096" y="2174"/>
                  </a:cubicBezTo>
                  <a:cubicBezTo>
                    <a:pt x="5082" y="2166"/>
                    <a:pt x="5066" y="2159"/>
                    <a:pt x="5052" y="2159"/>
                  </a:cubicBezTo>
                  <a:cubicBezTo>
                    <a:pt x="5029" y="2159"/>
                    <a:pt x="5014" y="2159"/>
                    <a:pt x="4999" y="2151"/>
                  </a:cubicBezTo>
                  <a:cubicBezTo>
                    <a:pt x="4992" y="2151"/>
                    <a:pt x="4984" y="2144"/>
                    <a:pt x="4977" y="2144"/>
                  </a:cubicBezTo>
                  <a:cubicBezTo>
                    <a:pt x="4969" y="2144"/>
                    <a:pt x="4969" y="2144"/>
                    <a:pt x="4962" y="2144"/>
                  </a:cubicBezTo>
                  <a:cubicBezTo>
                    <a:pt x="4962" y="2159"/>
                    <a:pt x="4962" y="2166"/>
                    <a:pt x="4962" y="2174"/>
                  </a:cubicBezTo>
                  <a:cubicBezTo>
                    <a:pt x="4969" y="2196"/>
                    <a:pt x="4992" y="2211"/>
                    <a:pt x="5007" y="2226"/>
                  </a:cubicBezTo>
                  <a:cubicBezTo>
                    <a:pt x="5014" y="2234"/>
                    <a:pt x="5022" y="2241"/>
                    <a:pt x="5029" y="2248"/>
                  </a:cubicBezTo>
                  <a:cubicBezTo>
                    <a:pt x="5052" y="2271"/>
                    <a:pt x="5082" y="2286"/>
                    <a:pt x="5112" y="2286"/>
                  </a:cubicBezTo>
                  <a:cubicBezTo>
                    <a:pt x="5134" y="2286"/>
                    <a:pt x="5134" y="2271"/>
                    <a:pt x="5149" y="2271"/>
                  </a:cubicBezTo>
                  <a:cubicBezTo>
                    <a:pt x="5164" y="2271"/>
                    <a:pt x="5164" y="2278"/>
                    <a:pt x="5179" y="2286"/>
                  </a:cubicBezTo>
                  <a:cubicBezTo>
                    <a:pt x="5194" y="2286"/>
                    <a:pt x="5201" y="2286"/>
                    <a:pt x="5216" y="2294"/>
                  </a:cubicBezTo>
                  <a:cubicBezTo>
                    <a:pt x="5224" y="2294"/>
                    <a:pt x="5231" y="2294"/>
                    <a:pt x="5239" y="2294"/>
                  </a:cubicBezTo>
                  <a:cubicBezTo>
                    <a:pt x="5261" y="2294"/>
                    <a:pt x="5291" y="2286"/>
                    <a:pt x="5291" y="2264"/>
                  </a:cubicBezTo>
                  <a:cubicBezTo>
                    <a:pt x="5291" y="2248"/>
                    <a:pt x="5276" y="2241"/>
                    <a:pt x="5261" y="2234"/>
                  </a:cubicBezTo>
                  <a:cubicBezTo>
                    <a:pt x="5239" y="2219"/>
                    <a:pt x="5224" y="2211"/>
                    <a:pt x="5194" y="2204"/>
                  </a:cubicBezTo>
                  <a:cubicBezTo>
                    <a:pt x="5171" y="2196"/>
                    <a:pt x="5156" y="2196"/>
                    <a:pt x="5134" y="2189"/>
                  </a:cubicBezTo>
                  <a:cubicBezTo>
                    <a:pt x="5119" y="2181"/>
                    <a:pt x="5119" y="2174"/>
                    <a:pt x="5104" y="2166"/>
                  </a:cubicBezTo>
                  <a:cubicBezTo>
                    <a:pt x="5156" y="2174"/>
                    <a:pt x="5186" y="2189"/>
                    <a:pt x="5239" y="2204"/>
                  </a:cubicBezTo>
                  <a:cubicBezTo>
                    <a:pt x="5261" y="2219"/>
                    <a:pt x="5276" y="2219"/>
                    <a:pt x="5299" y="2234"/>
                  </a:cubicBezTo>
                  <a:cubicBezTo>
                    <a:pt x="5359" y="2241"/>
                    <a:pt x="5396" y="2241"/>
                    <a:pt x="5456" y="2256"/>
                  </a:cubicBezTo>
                  <a:cubicBezTo>
                    <a:pt x="5479" y="2264"/>
                    <a:pt x="5494" y="2264"/>
                    <a:pt x="5516" y="2278"/>
                  </a:cubicBezTo>
                  <a:cubicBezTo>
                    <a:pt x="5516" y="2286"/>
                    <a:pt x="5516" y="2294"/>
                    <a:pt x="5516" y="2294"/>
                  </a:cubicBezTo>
                  <a:cubicBezTo>
                    <a:pt x="5494" y="2301"/>
                    <a:pt x="5486" y="2301"/>
                    <a:pt x="5464" y="2316"/>
                  </a:cubicBezTo>
                  <a:cubicBezTo>
                    <a:pt x="5449" y="2324"/>
                    <a:pt x="5434" y="2331"/>
                    <a:pt x="5434" y="2354"/>
                  </a:cubicBezTo>
                  <a:cubicBezTo>
                    <a:pt x="5434" y="2376"/>
                    <a:pt x="5441" y="2384"/>
                    <a:pt x="5449" y="2406"/>
                  </a:cubicBezTo>
                  <a:cubicBezTo>
                    <a:pt x="5449" y="2413"/>
                    <a:pt x="5449" y="2428"/>
                    <a:pt x="5464" y="2428"/>
                  </a:cubicBezTo>
                  <a:cubicBezTo>
                    <a:pt x="5471" y="2428"/>
                    <a:pt x="5479" y="2421"/>
                    <a:pt x="5486" y="2421"/>
                  </a:cubicBezTo>
                  <a:cubicBezTo>
                    <a:pt x="5501" y="2413"/>
                    <a:pt x="5516" y="2406"/>
                    <a:pt x="5524" y="2391"/>
                  </a:cubicBezTo>
                  <a:cubicBezTo>
                    <a:pt x="5539" y="2376"/>
                    <a:pt x="5539" y="2354"/>
                    <a:pt x="5539" y="2331"/>
                  </a:cubicBezTo>
                  <a:cubicBezTo>
                    <a:pt x="5546" y="2308"/>
                    <a:pt x="5546" y="2301"/>
                    <a:pt x="5546" y="2278"/>
                  </a:cubicBezTo>
                  <a:cubicBezTo>
                    <a:pt x="5569" y="2286"/>
                    <a:pt x="5583" y="2278"/>
                    <a:pt x="5606" y="2278"/>
                  </a:cubicBezTo>
                  <a:cubicBezTo>
                    <a:pt x="5614" y="2308"/>
                    <a:pt x="5629" y="2324"/>
                    <a:pt x="5629" y="2354"/>
                  </a:cubicBezTo>
                  <a:cubicBezTo>
                    <a:pt x="5629" y="2361"/>
                    <a:pt x="5629" y="2368"/>
                    <a:pt x="5629" y="2368"/>
                  </a:cubicBezTo>
                  <a:cubicBezTo>
                    <a:pt x="5629" y="2384"/>
                    <a:pt x="5644" y="2391"/>
                    <a:pt x="5644" y="2406"/>
                  </a:cubicBezTo>
                  <a:cubicBezTo>
                    <a:pt x="5651" y="2428"/>
                    <a:pt x="5659" y="2436"/>
                    <a:pt x="5666" y="2458"/>
                  </a:cubicBezTo>
                  <a:cubicBezTo>
                    <a:pt x="5689" y="2488"/>
                    <a:pt x="5711" y="2503"/>
                    <a:pt x="5748" y="2526"/>
                  </a:cubicBezTo>
                  <a:cubicBezTo>
                    <a:pt x="5764" y="2526"/>
                    <a:pt x="5771" y="2533"/>
                    <a:pt x="5786" y="2533"/>
                  </a:cubicBezTo>
                  <a:cubicBezTo>
                    <a:pt x="5831" y="2548"/>
                    <a:pt x="5861" y="2556"/>
                    <a:pt x="5913" y="2556"/>
                  </a:cubicBezTo>
                  <a:cubicBezTo>
                    <a:pt x="5936" y="2556"/>
                    <a:pt x="5951" y="2563"/>
                    <a:pt x="5973" y="2563"/>
                  </a:cubicBezTo>
                  <a:cubicBezTo>
                    <a:pt x="6048" y="2563"/>
                    <a:pt x="6048" y="2563"/>
                    <a:pt x="6048" y="2563"/>
                  </a:cubicBezTo>
                  <a:cubicBezTo>
                    <a:pt x="6093" y="2563"/>
                    <a:pt x="6116" y="2563"/>
                    <a:pt x="6161" y="2556"/>
                  </a:cubicBezTo>
                  <a:cubicBezTo>
                    <a:pt x="6191" y="2556"/>
                    <a:pt x="6206" y="2556"/>
                    <a:pt x="6228" y="2548"/>
                  </a:cubicBezTo>
                  <a:cubicBezTo>
                    <a:pt x="6251" y="2541"/>
                    <a:pt x="6258" y="2526"/>
                    <a:pt x="6273" y="2511"/>
                  </a:cubicBezTo>
                  <a:cubicBezTo>
                    <a:pt x="6318" y="2488"/>
                    <a:pt x="6341" y="2473"/>
                    <a:pt x="6371" y="2436"/>
                  </a:cubicBezTo>
                  <a:cubicBezTo>
                    <a:pt x="6385" y="2421"/>
                    <a:pt x="6385" y="2413"/>
                    <a:pt x="6401" y="2398"/>
                  </a:cubicBezTo>
                  <a:cubicBezTo>
                    <a:pt x="6408" y="2391"/>
                    <a:pt x="6415" y="2384"/>
                    <a:pt x="6423" y="2376"/>
                  </a:cubicBezTo>
                  <a:cubicBezTo>
                    <a:pt x="6438" y="2346"/>
                    <a:pt x="6445" y="2324"/>
                    <a:pt x="6468" y="2301"/>
                  </a:cubicBezTo>
                  <a:cubicBezTo>
                    <a:pt x="6498" y="2271"/>
                    <a:pt x="6528" y="2264"/>
                    <a:pt x="6558" y="2241"/>
                  </a:cubicBezTo>
                  <a:cubicBezTo>
                    <a:pt x="6580" y="2211"/>
                    <a:pt x="6603" y="2204"/>
                    <a:pt x="6625" y="2181"/>
                  </a:cubicBezTo>
                  <a:cubicBezTo>
                    <a:pt x="6648" y="2159"/>
                    <a:pt x="6663" y="2144"/>
                    <a:pt x="6693" y="2129"/>
                  </a:cubicBezTo>
                  <a:cubicBezTo>
                    <a:pt x="6730" y="2106"/>
                    <a:pt x="6723" y="2061"/>
                    <a:pt x="6745" y="2016"/>
                  </a:cubicBezTo>
                  <a:cubicBezTo>
                    <a:pt x="6768" y="1964"/>
                    <a:pt x="6805" y="1956"/>
                    <a:pt x="6835" y="1904"/>
                  </a:cubicBezTo>
                  <a:cubicBezTo>
                    <a:pt x="6835" y="1904"/>
                    <a:pt x="6843" y="1904"/>
                    <a:pt x="6850" y="1904"/>
                  </a:cubicBezTo>
                  <a:cubicBezTo>
                    <a:pt x="6858" y="1919"/>
                    <a:pt x="6850" y="1934"/>
                    <a:pt x="6858" y="1956"/>
                  </a:cubicBezTo>
                  <a:cubicBezTo>
                    <a:pt x="6858" y="1971"/>
                    <a:pt x="6865" y="1979"/>
                    <a:pt x="6865" y="1994"/>
                  </a:cubicBezTo>
                  <a:cubicBezTo>
                    <a:pt x="6865" y="2054"/>
                    <a:pt x="6865" y="2054"/>
                    <a:pt x="6865" y="2054"/>
                  </a:cubicBezTo>
                  <a:cubicBezTo>
                    <a:pt x="6865" y="2061"/>
                    <a:pt x="6865" y="2061"/>
                    <a:pt x="6865" y="2069"/>
                  </a:cubicBezTo>
                  <a:cubicBezTo>
                    <a:pt x="6858" y="2106"/>
                    <a:pt x="6843" y="2121"/>
                    <a:pt x="6828" y="2159"/>
                  </a:cubicBezTo>
                  <a:cubicBezTo>
                    <a:pt x="6820" y="2166"/>
                    <a:pt x="6813" y="2181"/>
                    <a:pt x="6805" y="2196"/>
                  </a:cubicBezTo>
                  <a:cubicBezTo>
                    <a:pt x="6798" y="2204"/>
                    <a:pt x="6790" y="2204"/>
                    <a:pt x="6783" y="2211"/>
                  </a:cubicBezTo>
                  <a:cubicBezTo>
                    <a:pt x="6745" y="2241"/>
                    <a:pt x="6760" y="2278"/>
                    <a:pt x="6753" y="2324"/>
                  </a:cubicBezTo>
                  <a:cubicBezTo>
                    <a:pt x="6745" y="2338"/>
                    <a:pt x="6738" y="2346"/>
                    <a:pt x="6730" y="2361"/>
                  </a:cubicBezTo>
                  <a:cubicBezTo>
                    <a:pt x="6715" y="2391"/>
                    <a:pt x="6693" y="2406"/>
                    <a:pt x="6678" y="2436"/>
                  </a:cubicBezTo>
                  <a:cubicBezTo>
                    <a:pt x="6670" y="2451"/>
                    <a:pt x="6670" y="2458"/>
                    <a:pt x="6663" y="2473"/>
                  </a:cubicBezTo>
                  <a:cubicBezTo>
                    <a:pt x="6633" y="2526"/>
                    <a:pt x="6603" y="2541"/>
                    <a:pt x="6580" y="2601"/>
                  </a:cubicBezTo>
                  <a:cubicBezTo>
                    <a:pt x="6573" y="2616"/>
                    <a:pt x="6580" y="2638"/>
                    <a:pt x="6580" y="2661"/>
                  </a:cubicBezTo>
                  <a:cubicBezTo>
                    <a:pt x="6580" y="2683"/>
                    <a:pt x="6573" y="2698"/>
                    <a:pt x="6565" y="2721"/>
                  </a:cubicBezTo>
                  <a:cubicBezTo>
                    <a:pt x="6558" y="2736"/>
                    <a:pt x="6543" y="2743"/>
                    <a:pt x="6543" y="2758"/>
                  </a:cubicBezTo>
                  <a:cubicBezTo>
                    <a:pt x="6543" y="2803"/>
                    <a:pt x="6558" y="2833"/>
                    <a:pt x="6573" y="2871"/>
                  </a:cubicBezTo>
                  <a:cubicBezTo>
                    <a:pt x="6580" y="2893"/>
                    <a:pt x="6580" y="2908"/>
                    <a:pt x="6588" y="2923"/>
                  </a:cubicBezTo>
                  <a:cubicBezTo>
                    <a:pt x="6603" y="2946"/>
                    <a:pt x="6610" y="2960"/>
                    <a:pt x="6625" y="2983"/>
                  </a:cubicBezTo>
                  <a:cubicBezTo>
                    <a:pt x="6640" y="3006"/>
                    <a:pt x="6655" y="3006"/>
                    <a:pt x="6678" y="3020"/>
                  </a:cubicBezTo>
                  <a:cubicBezTo>
                    <a:pt x="6693" y="3028"/>
                    <a:pt x="6700" y="3050"/>
                    <a:pt x="6700" y="3066"/>
                  </a:cubicBezTo>
                  <a:cubicBezTo>
                    <a:pt x="6708" y="3088"/>
                    <a:pt x="6715" y="3103"/>
                    <a:pt x="6723" y="3133"/>
                  </a:cubicBezTo>
                  <a:cubicBezTo>
                    <a:pt x="6723" y="3148"/>
                    <a:pt x="6723" y="3163"/>
                    <a:pt x="6730" y="3178"/>
                  </a:cubicBezTo>
                  <a:cubicBezTo>
                    <a:pt x="6745" y="3215"/>
                    <a:pt x="6753" y="3230"/>
                    <a:pt x="6760" y="3268"/>
                  </a:cubicBezTo>
                  <a:cubicBezTo>
                    <a:pt x="6768" y="3313"/>
                    <a:pt x="6768" y="3343"/>
                    <a:pt x="6783" y="3380"/>
                  </a:cubicBezTo>
                  <a:close/>
                  <a:moveTo>
                    <a:pt x="1957" y="113"/>
                  </a:moveTo>
                  <a:lnTo>
                    <a:pt x="1957" y="113"/>
                  </a:lnTo>
                  <a:cubicBezTo>
                    <a:pt x="1949" y="120"/>
                    <a:pt x="1941" y="128"/>
                    <a:pt x="1934" y="135"/>
                  </a:cubicBezTo>
                  <a:cubicBezTo>
                    <a:pt x="1919" y="143"/>
                    <a:pt x="1911" y="135"/>
                    <a:pt x="1904" y="135"/>
                  </a:cubicBezTo>
                  <a:cubicBezTo>
                    <a:pt x="1904" y="150"/>
                    <a:pt x="1904" y="158"/>
                    <a:pt x="1904" y="173"/>
                  </a:cubicBezTo>
                  <a:cubicBezTo>
                    <a:pt x="1904" y="195"/>
                    <a:pt x="1897" y="210"/>
                    <a:pt x="1897" y="233"/>
                  </a:cubicBezTo>
                  <a:cubicBezTo>
                    <a:pt x="1897" y="248"/>
                    <a:pt x="1904" y="255"/>
                    <a:pt x="1911" y="263"/>
                  </a:cubicBezTo>
                  <a:cubicBezTo>
                    <a:pt x="1919" y="278"/>
                    <a:pt x="1919" y="293"/>
                    <a:pt x="1927" y="300"/>
                  </a:cubicBezTo>
                  <a:cubicBezTo>
                    <a:pt x="1927" y="308"/>
                    <a:pt x="1934" y="308"/>
                    <a:pt x="1934" y="315"/>
                  </a:cubicBezTo>
                  <a:cubicBezTo>
                    <a:pt x="1941" y="330"/>
                    <a:pt x="1934" y="338"/>
                    <a:pt x="1934" y="353"/>
                  </a:cubicBezTo>
                  <a:cubicBezTo>
                    <a:pt x="1934" y="360"/>
                    <a:pt x="1941" y="368"/>
                    <a:pt x="1934" y="375"/>
                  </a:cubicBezTo>
                  <a:cubicBezTo>
                    <a:pt x="1934" y="383"/>
                    <a:pt x="1934" y="383"/>
                    <a:pt x="1934" y="390"/>
                  </a:cubicBezTo>
                  <a:cubicBezTo>
                    <a:pt x="1934" y="398"/>
                    <a:pt x="1941" y="405"/>
                    <a:pt x="1949" y="405"/>
                  </a:cubicBezTo>
                  <a:cubicBezTo>
                    <a:pt x="1957" y="405"/>
                    <a:pt x="1964" y="398"/>
                    <a:pt x="1964" y="390"/>
                  </a:cubicBezTo>
                  <a:cubicBezTo>
                    <a:pt x="1964" y="390"/>
                    <a:pt x="1964" y="390"/>
                    <a:pt x="1964" y="383"/>
                  </a:cubicBezTo>
                  <a:cubicBezTo>
                    <a:pt x="1964" y="368"/>
                    <a:pt x="1964" y="368"/>
                    <a:pt x="1964" y="353"/>
                  </a:cubicBezTo>
                  <a:cubicBezTo>
                    <a:pt x="1971" y="323"/>
                    <a:pt x="1971" y="308"/>
                    <a:pt x="1971" y="285"/>
                  </a:cubicBezTo>
                  <a:cubicBezTo>
                    <a:pt x="1971" y="270"/>
                    <a:pt x="1979" y="263"/>
                    <a:pt x="1979" y="255"/>
                  </a:cubicBezTo>
                  <a:cubicBezTo>
                    <a:pt x="1979" y="188"/>
                    <a:pt x="1979" y="188"/>
                    <a:pt x="1979" y="188"/>
                  </a:cubicBezTo>
                  <a:cubicBezTo>
                    <a:pt x="1979" y="165"/>
                    <a:pt x="1979" y="150"/>
                    <a:pt x="1971" y="128"/>
                  </a:cubicBezTo>
                  <a:cubicBezTo>
                    <a:pt x="1971" y="120"/>
                    <a:pt x="1964" y="120"/>
                    <a:pt x="1957" y="113"/>
                  </a:cubicBezTo>
                  <a:close/>
                  <a:moveTo>
                    <a:pt x="2121" y="435"/>
                  </a:moveTo>
                  <a:lnTo>
                    <a:pt x="2121" y="435"/>
                  </a:lnTo>
                  <a:cubicBezTo>
                    <a:pt x="2114" y="443"/>
                    <a:pt x="2114" y="450"/>
                    <a:pt x="2106" y="458"/>
                  </a:cubicBezTo>
                  <a:cubicBezTo>
                    <a:pt x="2099" y="473"/>
                    <a:pt x="2084" y="473"/>
                    <a:pt x="2076" y="488"/>
                  </a:cubicBezTo>
                  <a:cubicBezTo>
                    <a:pt x="2069" y="502"/>
                    <a:pt x="2069" y="510"/>
                    <a:pt x="2069" y="525"/>
                  </a:cubicBezTo>
                  <a:cubicBezTo>
                    <a:pt x="2069" y="548"/>
                    <a:pt x="2069" y="555"/>
                    <a:pt x="2076" y="578"/>
                  </a:cubicBezTo>
                  <a:cubicBezTo>
                    <a:pt x="2076" y="592"/>
                    <a:pt x="2084" y="592"/>
                    <a:pt x="2099" y="608"/>
                  </a:cubicBezTo>
                  <a:lnTo>
                    <a:pt x="2099" y="615"/>
                  </a:lnTo>
                  <a:cubicBezTo>
                    <a:pt x="2114" y="637"/>
                    <a:pt x="2129" y="645"/>
                    <a:pt x="2144" y="660"/>
                  </a:cubicBezTo>
                  <a:cubicBezTo>
                    <a:pt x="2159" y="660"/>
                    <a:pt x="2166" y="667"/>
                    <a:pt x="2174" y="675"/>
                  </a:cubicBezTo>
                  <a:cubicBezTo>
                    <a:pt x="2181" y="682"/>
                    <a:pt x="2181" y="690"/>
                    <a:pt x="2189" y="690"/>
                  </a:cubicBezTo>
                  <a:cubicBezTo>
                    <a:pt x="2196" y="690"/>
                    <a:pt x="2196" y="682"/>
                    <a:pt x="2196" y="682"/>
                  </a:cubicBezTo>
                  <a:cubicBezTo>
                    <a:pt x="2204" y="682"/>
                    <a:pt x="2211" y="675"/>
                    <a:pt x="2219" y="667"/>
                  </a:cubicBezTo>
                  <a:cubicBezTo>
                    <a:pt x="2234" y="667"/>
                    <a:pt x="2241" y="660"/>
                    <a:pt x="2249" y="652"/>
                  </a:cubicBezTo>
                  <a:cubicBezTo>
                    <a:pt x="2249" y="652"/>
                    <a:pt x="2249" y="652"/>
                    <a:pt x="2256" y="645"/>
                  </a:cubicBezTo>
                  <a:cubicBezTo>
                    <a:pt x="2271" y="622"/>
                    <a:pt x="2279" y="608"/>
                    <a:pt x="2279" y="585"/>
                  </a:cubicBezTo>
                  <a:cubicBezTo>
                    <a:pt x="2279" y="578"/>
                    <a:pt x="2279" y="570"/>
                    <a:pt x="2271" y="562"/>
                  </a:cubicBezTo>
                  <a:cubicBezTo>
                    <a:pt x="2271" y="548"/>
                    <a:pt x="2271" y="532"/>
                    <a:pt x="2271" y="518"/>
                  </a:cubicBezTo>
                  <a:cubicBezTo>
                    <a:pt x="2264" y="510"/>
                    <a:pt x="2264" y="502"/>
                    <a:pt x="2264" y="488"/>
                  </a:cubicBezTo>
                  <a:cubicBezTo>
                    <a:pt x="2256" y="480"/>
                    <a:pt x="2249" y="480"/>
                    <a:pt x="2234" y="480"/>
                  </a:cubicBezTo>
                  <a:cubicBezTo>
                    <a:pt x="2211" y="473"/>
                    <a:pt x="2196" y="473"/>
                    <a:pt x="2181" y="450"/>
                  </a:cubicBezTo>
                  <a:cubicBezTo>
                    <a:pt x="2174" y="443"/>
                    <a:pt x="2166" y="443"/>
                    <a:pt x="2159" y="435"/>
                  </a:cubicBezTo>
                  <a:cubicBezTo>
                    <a:pt x="2144" y="428"/>
                    <a:pt x="2144" y="420"/>
                    <a:pt x="2129" y="420"/>
                  </a:cubicBezTo>
                  <a:cubicBezTo>
                    <a:pt x="2114" y="420"/>
                    <a:pt x="2114" y="420"/>
                    <a:pt x="2114" y="420"/>
                  </a:cubicBezTo>
                  <a:cubicBezTo>
                    <a:pt x="2121" y="435"/>
                    <a:pt x="2121" y="435"/>
                    <a:pt x="2121" y="435"/>
                  </a:cubicBezTo>
                  <a:close/>
                  <a:moveTo>
                    <a:pt x="16" y="6280"/>
                  </a:moveTo>
                  <a:lnTo>
                    <a:pt x="16" y="6280"/>
                  </a:lnTo>
                  <a:cubicBezTo>
                    <a:pt x="16" y="6280"/>
                    <a:pt x="16" y="6288"/>
                    <a:pt x="8" y="6288"/>
                  </a:cubicBezTo>
                  <a:cubicBezTo>
                    <a:pt x="8" y="6295"/>
                    <a:pt x="0" y="6295"/>
                    <a:pt x="0" y="6303"/>
                  </a:cubicBezTo>
                  <a:cubicBezTo>
                    <a:pt x="0" y="6318"/>
                    <a:pt x="8" y="6318"/>
                    <a:pt x="8" y="6333"/>
                  </a:cubicBezTo>
                  <a:cubicBezTo>
                    <a:pt x="16" y="6333"/>
                    <a:pt x="16" y="6333"/>
                    <a:pt x="16" y="6333"/>
                  </a:cubicBezTo>
                  <a:cubicBezTo>
                    <a:pt x="23" y="6333"/>
                    <a:pt x="23" y="6333"/>
                    <a:pt x="23" y="6333"/>
                  </a:cubicBezTo>
                  <a:cubicBezTo>
                    <a:pt x="46" y="6325"/>
                    <a:pt x="53" y="6318"/>
                    <a:pt x="68" y="6318"/>
                  </a:cubicBezTo>
                  <a:cubicBezTo>
                    <a:pt x="68" y="6303"/>
                    <a:pt x="68" y="6303"/>
                    <a:pt x="68" y="6303"/>
                  </a:cubicBezTo>
                  <a:cubicBezTo>
                    <a:pt x="53" y="6288"/>
                    <a:pt x="38" y="6280"/>
                    <a:pt x="16" y="6280"/>
                  </a:cubicBezTo>
                  <a:close/>
                  <a:moveTo>
                    <a:pt x="105" y="5306"/>
                  </a:moveTo>
                  <a:lnTo>
                    <a:pt x="105" y="5306"/>
                  </a:lnTo>
                  <a:cubicBezTo>
                    <a:pt x="105" y="5314"/>
                    <a:pt x="105" y="5314"/>
                    <a:pt x="113" y="5321"/>
                  </a:cubicBezTo>
                  <a:cubicBezTo>
                    <a:pt x="113" y="5329"/>
                    <a:pt x="113" y="5329"/>
                    <a:pt x="113" y="5336"/>
                  </a:cubicBezTo>
                  <a:cubicBezTo>
                    <a:pt x="105" y="5374"/>
                    <a:pt x="105" y="5374"/>
                    <a:pt x="105" y="5374"/>
                  </a:cubicBezTo>
                  <a:cubicBezTo>
                    <a:pt x="105" y="5381"/>
                    <a:pt x="113" y="5381"/>
                    <a:pt x="113" y="5388"/>
                  </a:cubicBezTo>
                  <a:cubicBezTo>
                    <a:pt x="113" y="5396"/>
                    <a:pt x="120" y="5396"/>
                    <a:pt x="120" y="5396"/>
                  </a:cubicBezTo>
                  <a:cubicBezTo>
                    <a:pt x="128" y="5404"/>
                    <a:pt x="128" y="5404"/>
                    <a:pt x="128" y="5411"/>
                  </a:cubicBezTo>
                  <a:cubicBezTo>
                    <a:pt x="128" y="5426"/>
                    <a:pt x="128" y="5441"/>
                    <a:pt x="135" y="5456"/>
                  </a:cubicBezTo>
                  <a:cubicBezTo>
                    <a:pt x="143" y="5448"/>
                    <a:pt x="150" y="5441"/>
                    <a:pt x="158" y="5441"/>
                  </a:cubicBezTo>
                  <a:cubicBezTo>
                    <a:pt x="165" y="5434"/>
                    <a:pt x="165" y="5434"/>
                    <a:pt x="173" y="5426"/>
                  </a:cubicBezTo>
                  <a:cubicBezTo>
                    <a:pt x="188" y="5426"/>
                    <a:pt x="195" y="5426"/>
                    <a:pt x="203" y="5411"/>
                  </a:cubicBezTo>
                  <a:cubicBezTo>
                    <a:pt x="203" y="5396"/>
                    <a:pt x="203" y="5388"/>
                    <a:pt x="210" y="5374"/>
                  </a:cubicBezTo>
                  <a:cubicBezTo>
                    <a:pt x="210" y="5359"/>
                    <a:pt x="210" y="5344"/>
                    <a:pt x="218" y="5329"/>
                  </a:cubicBezTo>
                  <a:cubicBezTo>
                    <a:pt x="218" y="5299"/>
                    <a:pt x="210" y="5276"/>
                    <a:pt x="233" y="5254"/>
                  </a:cubicBezTo>
                  <a:cubicBezTo>
                    <a:pt x="240" y="5246"/>
                    <a:pt x="248" y="5239"/>
                    <a:pt x="263" y="5224"/>
                  </a:cubicBezTo>
                  <a:cubicBezTo>
                    <a:pt x="270" y="5216"/>
                    <a:pt x="278" y="5209"/>
                    <a:pt x="278" y="5201"/>
                  </a:cubicBezTo>
                  <a:cubicBezTo>
                    <a:pt x="278" y="5194"/>
                    <a:pt x="263" y="5179"/>
                    <a:pt x="255" y="5186"/>
                  </a:cubicBezTo>
                  <a:lnTo>
                    <a:pt x="248" y="5194"/>
                  </a:lnTo>
                  <a:cubicBezTo>
                    <a:pt x="240" y="5201"/>
                    <a:pt x="233" y="5209"/>
                    <a:pt x="225" y="5209"/>
                  </a:cubicBezTo>
                  <a:cubicBezTo>
                    <a:pt x="210" y="5224"/>
                    <a:pt x="195" y="5224"/>
                    <a:pt x="173" y="5224"/>
                  </a:cubicBezTo>
                  <a:cubicBezTo>
                    <a:pt x="158" y="5224"/>
                    <a:pt x="143" y="5216"/>
                    <a:pt x="135" y="5224"/>
                  </a:cubicBezTo>
                  <a:cubicBezTo>
                    <a:pt x="128" y="5231"/>
                    <a:pt x="128" y="5239"/>
                    <a:pt x="128" y="5246"/>
                  </a:cubicBezTo>
                  <a:cubicBezTo>
                    <a:pt x="120" y="5254"/>
                    <a:pt x="120" y="5261"/>
                    <a:pt x="113" y="5269"/>
                  </a:cubicBezTo>
                  <a:cubicBezTo>
                    <a:pt x="105" y="5284"/>
                    <a:pt x="105" y="5291"/>
                    <a:pt x="105" y="530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5C76905-1488-E613-FB30-D80F3C5AA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Japa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DE75D33-B92B-4CE2-DBCD-FBA29E46CDAA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As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Tokyo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Japanes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DE89D7C-2445-03B4-E448-9CA90D54695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  <p:grpSp>
        <p:nvGrpSpPr>
          <p:cNvPr id="3" name="Gruppieren 96">
            <a:extLst>
              <a:ext uri="{FF2B5EF4-FFF2-40B4-BE49-F238E27FC236}">
                <a16:creationId xmlns:a16="http://schemas.microsoft.com/office/drawing/2014/main" id="{DECCF315-CEAA-21CE-24F3-8F921F18C94B}"/>
              </a:ext>
            </a:extLst>
          </p:cNvPr>
          <p:cNvGrpSpPr>
            <a:grpSpLocks/>
          </p:cNvGrpSpPr>
          <p:nvPr/>
        </p:nvGrpSpPr>
        <p:grpSpPr>
          <a:xfrm>
            <a:off x="6550552" y="4092915"/>
            <a:ext cx="304976" cy="304976"/>
            <a:chOff x="3476538" y="3554481"/>
            <a:chExt cx="828675" cy="828675"/>
          </a:xfrm>
        </p:grpSpPr>
        <p:sp>
          <p:nvSpPr>
            <p:cNvPr id="5" name="Träne 97">
              <a:extLst>
                <a:ext uri="{FF2B5EF4-FFF2-40B4-BE49-F238E27FC236}">
                  <a16:creationId xmlns:a16="http://schemas.microsoft.com/office/drawing/2014/main" id="{E8B3FF01-9848-FF0C-5DD7-D8707AAFCD3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714E0D89-8C99-B528-4B2B-49719F7F1E5F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7568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